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6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34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7" r:id="rId5"/>
    <p:sldMasterId id="2147483660" r:id="rId6"/>
  </p:sldMasterIdLst>
  <p:notesMasterIdLst>
    <p:notesMasterId r:id="rId46"/>
  </p:notesMasterIdLst>
  <p:sldIdLst>
    <p:sldId id="929" r:id="rId7"/>
    <p:sldId id="932" r:id="rId8"/>
    <p:sldId id="933" r:id="rId9"/>
    <p:sldId id="930" r:id="rId10"/>
    <p:sldId id="935" r:id="rId11"/>
    <p:sldId id="934" r:id="rId12"/>
    <p:sldId id="959" r:id="rId13"/>
    <p:sldId id="908" r:id="rId14"/>
    <p:sldId id="911" r:id="rId15"/>
    <p:sldId id="912" r:id="rId16"/>
    <p:sldId id="916" r:id="rId17"/>
    <p:sldId id="936" r:id="rId18"/>
    <p:sldId id="940" r:id="rId19"/>
    <p:sldId id="938" r:id="rId20"/>
    <p:sldId id="950" r:id="rId21"/>
    <p:sldId id="942" r:id="rId22"/>
    <p:sldId id="939" r:id="rId23"/>
    <p:sldId id="944" r:id="rId24"/>
    <p:sldId id="945" r:id="rId25"/>
    <p:sldId id="947" r:id="rId26"/>
    <p:sldId id="951" r:id="rId27"/>
    <p:sldId id="952" r:id="rId28"/>
    <p:sldId id="277" r:id="rId29"/>
    <p:sldId id="949" r:id="rId30"/>
    <p:sldId id="909" r:id="rId31"/>
    <p:sldId id="915" r:id="rId32"/>
    <p:sldId id="948" r:id="rId33"/>
    <p:sldId id="917" r:id="rId34"/>
    <p:sldId id="941" r:id="rId35"/>
    <p:sldId id="943" r:id="rId36"/>
    <p:sldId id="954" r:id="rId37"/>
    <p:sldId id="955" r:id="rId38"/>
    <p:sldId id="953" r:id="rId39"/>
    <p:sldId id="931" r:id="rId40"/>
    <p:sldId id="907" r:id="rId41"/>
    <p:sldId id="918" r:id="rId42"/>
    <p:sldId id="957" r:id="rId43"/>
    <p:sldId id="958" r:id="rId44"/>
    <p:sldId id="946" r:id="rId4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andro" initials="L" lastIdx="1" clrIdx="0">
    <p:extLst>
      <p:ext uri="{19B8F6BF-5375-455C-9EA6-DF929625EA0E}">
        <p15:presenceInfo xmlns:p15="http://schemas.microsoft.com/office/powerpoint/2012/main" userId="Leandr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C2"/>
    <a:srgbClr val="FFCC00"/>
    <a:srgbClr val="3E337A"/>
    <a:srgbClr val="402E77"/>
    <a:srgbClr val="4192B0"/>
    <a:srgbClr val="31738D"/>
    <a:srgbClr val="79D5E3"/>
    <a:srgbClr val="51C3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04" autoAdjust="0"/>
    <p:restoredTop sz="79788" autoAdjust="0"/>
  </p:normalViewPr>
  <p:slideViewPr>
    <p:cSldViewPr snapToGrid="0">
      <p:cViewPr varScale="1">
        <p:scale>
          <a:sx n="63" d="100"/>
          <a:sy n="63" d="100"/>
        </p:scale>
        <p:origin x="946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Balanco%20Hidrico/Balan&#231;oH&#237;dricoSAA-DF-Plano%20de%20Explora&#231;&#227;o.rev1.030222-Modificad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Balanco%20Hidrico/Balan&#231;oH&#237;dricoSAA-DF-Plano%20de%20Explora&#231;&#227;o.rev1.030222-Modificado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Balanco%20Hidrico/Balan&#231;oH&#237;dricoSAA-DF-Plano%20de%20Explora&#231;&#227;o.rev1.030222-Modificado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Planilhas/14%20-%20Cronograma%20f&#237;sico-financeiro%20Plano%20de%20Explora&#231;&#227;o%2025%2002%20%20Analise%20SA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Balanco%20Hidrico/Balan&#231;oH&#237;dricoSAA-DF-Plano%20de%20Explora&#231;&#227;o.rev1.030222-Modificado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3-11/Indicadores%20e%20Metas%20do%20PL%20Exploracao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7%20fev%20BH/Balan&#231;oH&#237;dricoSAA-DF-Plano%20de%20Explora&#231;&#227;o.rev1.03022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7%20fev%20BH/Balan&#231;oH&#237;dricoSAA-DF-Plano%20de%20Explora&#231;&#227;o.rev1.03022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7%20fev%20BH/Balan&#231;oH&#237;dricoSAA-DF-Plano%20de%20Explora&#231;&#227;o.rev1.030222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Planilhas/14%20-%20Cronograma%20f&#237;sico-financeiro%20Plano%20de%20Explora&#231;&#227;o%2025%2002%20%20Analise%20SA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3-11/Indicadores%20e%20Metas%20do%20PL%20Exploraca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3-11/Indicadores%20e%20Metas%20do%20PL%20Exploracao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final%20fev%202022/Balanco%20Hidrico/Balan&#231;oH&#237;dricoSAA-DF-Plano%20de%20Explora&#231;&#227;o.rev1.030222-Modificado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adasa4-my.sharepoint.com/personal/leandro_oliveira_adasa_df_gov_br/Documents/011-Planos/000-PLANO%20EXPLORCAO/Versao%2007%20fev%20BH/Balan&#231;oH&#237;dricoSAA-DF-Plano%20de%20Explora&#231;&#227;o.rev1.030222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936531690538865"/>
          <c:y val="0.12358389400199681"/>
          <c:w val="0.80522852232862185"/>
          <c:h val="0.541596354822045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-GRAF RESUMO'!$AL$18</c:f>
              <c:strCache>
                <c:ptCount val="1"/>
                <c:pt idx="0">
                  <c:v>População 2020 (hab.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-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A-GRAF RESUMO'!$AL$19:$AL$25</c:f>
              <c:numCache>
                <c:formatCode>_-* #,##0_-;\-* #,##0_-;_-* "-"??_-;_-@_-</c:formatCode>
                <c:ptCount val="7"/>
                <c:pt idx="0">
                  <c:v>606027</c:v>
                </c:pt>
                <c:pt idx="1">
                  <c:v>1716811</c:v>
                </c:pt>
                <c:pt idx="2">
                  <c:v>412611</c:v>
                </c:pt>
                <c:pt idx="3">
                  <c:v>180803</c:v>
                </c:pt>
                <c:pt idx="4">
                  <c:v>176034</c:v>
                </c:pt>
                <c:pt idx="5">
                  <c:v>51347</c:v>
                </c:pt>
                <c:pt idx="6">
                  <c:v>3143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EA-4B3F-ACF0-911723FE844E}"/>
            </c:ext>
          </c:extLst>
        </c:ser>
        <c:ser>
          <c:idx val="1"/>
          <c:order val="1"/>
          <c:tx>
            <c:strRef>
              <c:f>'A-GRAF RESUMO'!$AN$18</c:f>
              <c:strCache>
                <c:ptCount val="1"/>
                <c:pt idx="0">
                  <c:v>Incremento (hab.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-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A-GRAF RESUMO'!$AN$19:$AN$25</c:f>
              <c:numCache>
                <c:formatCode>_-* #,##0_-;\-* #,##0_-;_-* "-"??_-;_-@_-</c:formatCode>
                <c:ptCount val="7"/>
                <c:pt idx="0">
                  <c:v>51784</c:v>
                </c:pt>
                <c:pt idx="1">
                  <c:v>369267</c:v>
                </c:pt>
                <c:pt idx="2">
                  <c:v>159659</c:v>
                </c:pt>
                <c:pt idx="3">
                  <c:v>93478</c:v>
                </c:pt>
                <c:pt idx="4">
                  <c:v>208506</c:v>
                </c:pt>
                <c:pt idx="5">
                  <c:v>8000</c:v>
                </c:pt>
                <c:pt idx="6">
                  <c:v>8906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EA-4B3F-ACF0-911723FE8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17806863"/>
        <c:axId val="717821423"/>
      </c:barChart>
      <c:lineChart>
        <c:grouping val="standard"/>
        <c:varyColors val="0"/>
        <c:ser>
          <c:idx val="2"/>
          <c:order val="2"/>
          <c:tx>
            <c:strRef>
              <c:f>'A-GRAF RESUMO'!$AM$18</c:f>
              <c:strCache>
                <c:ptCount val="1"/>
                <c:pt idx="0">
                  <c:v>População 2039 (hab.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-GRAF RESUMO'!$AK$19:$AK$25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A-GRAF RESUMO'!$AM$19:$AM$25</c:f>
              <c:numCache>
                <c:formatCode>_-* #,##0_-;\-* #,##0_-;_-* "-"??_-;_-@_-</c:formatCode>
                <c:ptCount val="7"/>
                <c:pt idx="0">
                  <c:v>657811</c:v>
                </c:pt>
                <c:pt idx="1">
                  <c:v>2086078</c:v>
                </c:pt>
                <c:pt idx="2">
                  <c:v>572270</c:v>
                </c:pt>
                <c:pt idx="3">
                  <c:v>274281</c:v>
                </c:pt>
                <c:pt idx="4">
                  <c:v>384540</c:v>
                </c:pt>
                <c:pt idx="5">
                  <c:v>59347</c:v>
                </c:pt>
                <c:pt idx="6">
                  <c:v>40343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AEA-4B3F-ACF0-911723FE8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7806863"/>
        <c:axId val="717821423"/>
      </c:lineChart>
      <c:catAx>
        <c:axId val="717806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istema</a:t>
                </a:r>
              </a:p>
            </c:rich>
          </c:tx>
          <c:layout>
            <c:manualLayout>
              <c:xMode val="edge"/>
              <c:yMode val="edge"/>
              <c:x val="0.5296611583872346"/>
              <c:y val="0.940465940936158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21423"/>
        <c:crosses val="autoZero"/>
        <c:auto val="1"/>
        <c:lblAlgn val="ctr"/>
        <c:lblOffset val="100"/>
        <c:noMultiLvlLbl val="0"/>
      </c:catAx>
      <c:valAx>
        <c:axId val="71782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População (hab.)</a:t>
                </a:r>
              </a:p>
            </c:rich>
          </c:tx>
          <c:layout>
            <c:manualLayout>
              <c:xMode val="edge"/>
              <c:yMode val="edge"/>
              <c:x val="5.1749176871453126E-2"/>
              <c:y val="0.233354778524785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0686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93209856865059"/>
          <c:y val="8.9420379414598503E-2"/>
          <c:w val="0.84466051055358971"/>
          <c:h val="0.663792152563208"/>
        </c:manualLayout>
      </c:layout>
      <c:lineChart>
        <c:grouping val="standard"/>
        <c:varyColors val="0"/>
        <c:ser>
          <c:idx val="1"/>
          <c:order val="0"/>
          <c:tx>
            <c:strRef>
              <c:f>'A-VAZOES CAPTADAS'!$K$4</c:f>
              <c:strCache>
                <c:ptCount val="1"/>
                <c:pt idx="0">
                  <c:v>Vazão Captada (L/s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-VAZOES CAPTADAS'!$J$5:$J$25</c:f>
              <c:numCache>
                <c:formatCode>General</c:formatCode>
                <c:ptCount val="2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</c:numCache>
            </c:numRef>
          </c:cat>
          <c:val>
            <c:numRef>
              <c:f>'A-VAZOES CAPTADAS'!$K$5:$K$25</c:f>
              <c:numCache>
                <c:formatCode>_-* #,##0.0_-;\-* #,##0.0_-;_-* "-"??_-;_-@_-</c:formatCode>
                <c:ptCount val="21"/>
                <c:pt idx="0">
                  <c:v>7349.2</c:v>
                </c:pt>
                <c:pt idx="1">
                  <c:v>7691.5</c:v>
                </c:pt>
                <c:pt idx="2">
                  <c:v>8334.5</c:v>
                </c:pt>
                <c:pt idx="3">
                  <c:v>8427.7999999999993</c:v>
                </c:pt>
                <c:pt idx="4">
                  <c:v>8597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7A-4F0D-A221-197A217D61DD}"/>
            </c:ext>
          </c:extLst>
        </c:ser>
        <c:ser>
          <c:idx val="2"/>
          <c:order val="1"/>
          <c:tx>
            <c:strRef>
              <c:f>'A-VAZOES CAPTADAS'!$L$4</c:f>
              <c:strCache>
                <c:ptCount val="1"/>
                <c:pt idx="0">
                  <c:v>Vazão Projetada PDSB (L/s)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'A-VAZOES CAPTADAS'!$J$5:$J$25</c:f>
              <c:numCache>
                <c:formatCode>General</c:formatCode>
                <c:ptCount val="2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</c:numCache>
            </c:numRef>
          </c:cat>
          <c:val>
            <c:numRef>
              <c:f>'A-VAZOES CAPTADAS'!$L$5:$L$25</c:f>
              <c:numCache>
                <c:formatCode>_-* #,##0_-;\-* #,##0_-;_-* "-"??_-;_-@_-</c:formatCode>
                <c:ptCount val="21"/>
                <c:pt idx="0">
                  <c:v>8060.8967239200383</c:v>
                </c:pt>
                <c:pt idx="1">
                  <c:v>8185.8037990640096</c:v>
                </c:pt>
                <c:pt idx="2">
                  <c:v>8308.8375063244075</c:v>
                </c:pt>
                <c:pt idx="3">
                  <c:v>8394.7876173683435</c:v>
                </c:pt>
                <c:pt idx="4">
                  <c:v>8531.9406532866396</c:v>
                </c:pt>
                <c:pt idx="5">
                  <c:v>8666.7763912671235</c:v>
                </c:pt>
                <c:pt idx="6">
                  <c:v>8816.7483946917819</c:v>
                </c:pt>
                <c:pt idx="7">
                  <c:v>8964.8549500570753</c:v>
                </c:pt>
                <c:pt idx="8">
                  <c:v>9110.0657648401811</c:v>
                </c:pt>
                <c:pt idx="9">
                  <c:v>9252.7546946347029</c:v>
                </c:pt>
                <c:pt idx="10">
                  <c:v>9391.8771946347042</c:v>
                </c:pt>
                <c:pt idx="11">
                  <c:v>9528.5997859589061</c:v>
                </c:pt>
                <c:pt idx="12">
                  <c:v>9661.675644977171</c:v>
                </c:pt>
                <c:pt idx="13">
                  <c:v>9792.0456578196336</c:v>
                </c:pt>
                <c:pt idx="14">
                  <c:v>9914.3761900684931</c:v>
                </c:pt>
                <c:pt idx="15">
                  <c:v>10033.733944063926</c:v>
                </c:pt>
                <c:pt idx="16">
                  <c:v>10148.781230022827</c:v>
                </c:pt>
                <c:pt idx="17">
                  <c:v>10260.636381278538</c:v>
                </c:pt>
                <c:pt idx="18">
                  <c:v>10367.889033961193</c:v>
                </c:pt>
                <c:pt idx="19">
                  <c:v>10471.767019121002</c:v>
                </c:pt>
                <c:pt idx="20">
                  <c:v>10570.801142979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7A-4F0D-A221-197A217D61DD}"/>
            </c:ext>
          </c:extLst>
        </c:ser>
        <c:ser>
          <c:idx val="0"/>
          <c:order val="2"/>
          <c:tx>
            <c:strRef>
              <c:f>'A-VAZOES CAPTADAS'!$N$4</c:f>
              <c:strCache>
                <c:ptCount val="1"/>
                <c:pt idx="0">
                  <c:v>Vazão Projetada IBGE (L/s)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A-VAZOES CAPTADAS'!$J$5:$J$25</c:f>
              <c:numCache>
                <c:formatCode>General</c:formatCode>
                <c:ptCount val="2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  <c:pt idx="14">
                  <c:v>2031</c:v>
                </c:pt>
                <c:pt idx="15">
                  <c:v>2032</c:v>
                </c:pt>
                <c:pt idx="16">
                  <c:v>2033</c:v>
                </c:pt>
                <c:pt idx="17">
                  <c:v>2034</c:v>
                </c:pt>
                <c:pt idx="18">
                  <c:v>2035</c:v>
                </c:pt>
                <c:pt idx="19">
                  <c:v>2036</c:v>
                </c:pt>
                <c:pt idx="20">
                  <c:v>2037</c:v>
                </c:pt>
              </c:numCache>
            </c:numRef>
          </c:cat>
          <c:val>
            <c:numRef>
              <c:f>'A-VAZOES CAPTADAS'!$N$5:$N$25</c:f>
              <c:numCache>
                <c:formatCode>_-* #,##0_-;\-* #,##0_-;_-* "-"??_-;_-@_-</c:formatCode>
                <c:ptCount val="21"/>
                <c:pt idx="0">
                  <c:v>8001.1390533088243</c:v>
                </c:pt>
                <c:pt idx="1">
                  <c:v>7995.8883423913048</c:v>
                </c:pt>
                <c:pt idx="2">
                  <c:v>7989.0825535714284</c:v>
                </c:pt>
                <c:pt idx="3">
                  <c:v>7869.8451562500004</c:v>
                </c:pt>
                <c:pt idx="4">
                  <c:v>7915.7336120689661</c:v>
                </c:pt>
                <c:pt idx="5">
                  <c:v>7959.0253253424653</c:v>
                </c:pt>
                <c:pt idx="6">
                  <c:v>8054.3501198630129</c:v>
                </c:pt>
                <c:pt idx="7">
                  <c:v>8147.335530821917</c:v>
                </c:pt>
                <c:pt idx="8">
                  <c:v>8237.8722174657541</c:v>
                </c:pt>
                <c:pt idx="9">
                  <c:v>8325.894066780822</c:v>
                </c:pt>
                <c:pt idx="10">
                  <c:v>8411.3120804794526</c:v>
                </c:pt>
                <c:pt idx="11">
                  <c:v>8494.0169178082178</c:v>
                </c:pt>
                <c:pt idx="12">
                  <c:v>8573.9551797945205</c:v>
                </c:pt>
                <c:pt idx="13">
                  <c:v>8651.0912671232891</c:v>
                </c:pt>
                <c:pt idx="14">
                  <c:v>8725.567577054795</c:v>
                </c:pt>
                <c:pt idx="15">
                  <c:v>8797.4934503424665</c:v>
                </c:pt>
                <c:pt idx="16">
                  <c:v>8866.823116438356</c:v>
                </c:pt>
                <c:pt idx="17">
                  <c:v>8933.5311472602734</c:v>
                </c:pt>
                <c:pt idx="18">
                  <c:v>8997.5641438356161</c:v>
                </c:pt>
                <c:pt idx="19">
                  <c:v>9058.8076797945196</c:v>
                </c:pt>
                <c:pt idx="20">
                  <c:v>9117.15495719178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7A-4F0D-A221-197A217D61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30850288"/>
        <c:axId val="1130851536"/>
      </c:lineChart>
      <c:catAx>
        <c:axId val="11308502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layout>
            <c:manualLayout>
              <c:xMode val="edge"/>
              <c:yMode val="edge"/>
              <c:x val="0.53080168615286727"/>
              <c:y val="0.8400924947672679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30851536"/>
        <c:crosses val="autoZero"/>
        <c:auto val="1"/>
        <c:lblAlgn val="ctr"/>
        <c:lblOffset val="100"/>
        <c:noMultiLvlLbl val="0"/>
      </c:catAx>
      <c:valAx>
        <c:axId val="1130851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layout>
            <c:manualLayout>
              <c:xMode val="edge"/>
              <c:yMode val="edge"/>
              <c:x val="2.0172623876560884E-2"/>
              <c:y val="0.3307894614439018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-* #,##0.0_-;\-* #,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30850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746313528990691"/>
          <c:y val="0.88645682580816643"/>
          <c:w val="0.8599106020838303"/>
          <c:h val="8.73421708362404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Distrito Federal</a:t>
            </a:r>
          </a:p>
        </c:rich>
      </c:tx>
      <c:layout>
        <c:manualLayout>
          <c:xMode val="edge"/>
          <c:yMode val="edge"/>
          <c:x val="0.44128790520788769"/>
          <c:y val="2.8406598480221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3"/>
          <c:order val="2"/>
          <c:tx>
            <c:strRef>
              <c:f>'A1.BalançoHid.sem.EATLNT002'!$BM$10</c:f>
              <c:strCache>
                <c:ptCount val="1"/>
                <c:pt idx="0">
                  <c:v>Saldo (L/s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A1.BalançoHid.sem.EATLNT002'!$BI$11:$BI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M$11:$BM$30</c:f>
              <c:numCache>
                <c:formatCode>_(* #,##0.00_);_(* \(#,##0.00\);_(* "-"??_);_(@_)</c:formatCode>
                <c:ptCount val="20"/>
                <c:pt idx="0">
                  <c:v>636.83322116541967</c:v>
                </c:pt>
                <c:pt idx="1">
                  <c:v>499.68018524712352</c:v>
                </c:pt>
                <c:pt idx="2">
                  <c:v>364.84444726663969</c:v>
                </c:pt>
                <c:pt idx="3">
                  <c:v>2095.2891105086492</c:v>
                </c:pt>
                <c:pt idx="4">
                  <c:v>1980.5158884766861</c:v>
                </c:pt>
                <c:pt idx="5">
                  <c:v>2185.3050736935802</c:v>
                </c:pt>
                <c:pt idx="6">
                  <c:v>1731.9858519916706</c:v>
                </c:pt>
                <c:pt idx="7">
                  <c:v>1592.8633519916712</c:v>
                </c:pt>
                <c:pt idx="8">
                  <c:v>1456.1407606674675</c:v>
                </c:pt>
                <c:pt idx="9">
                  <c:v>2023.0649016492025</c:v>
                </c:pt>
                <c:pt idx="10">
                  <c:v>1892.69488880674</c:v>
                </c:pt>
                <c:pt idx="11">
                  <c:v>1668.3643565578805</c:v>
                </c:pt>
                <c:pt idx="12">
                  <c:v>2599.0066025624474</c:v>
                </c:pt>
                <c:pt idx="13">
                  <c:v>2302.3822814338291</c:v>
                </c:pt>
                <c:pt idx="14">
                  <c:v>2170.5930978706037</c:v>
                </c:pt>
                <c:pt idx="15">
                  <c:v>3361.3404451879505</c:v>
                </c:pt>
                <c:pt idx="16">
                  <c:v>2857.4624600281404</c:v>
                </c:pt>
                <c:pt idx="17">
                  <c:v>2419.4283361696889</c:v>
                </c:pt>
                <c:pt idx="18">
                  <c:v>2159.4556869665921</c:v>
                </c:pt>
                <c:pt idx="19">
                  <c:v>1742.729504212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93-466B-B245-0BBE9464E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7018607"/>
        <c:axId val="927014863"/>
      </c:barChart>
      <c:lineChart>
        <c:grouping val="standard"/>
        <c:varyColors val="0"/>
        <c:ser>
          <c:idx val="1"/>
          <c:order val="0"/>
          <c:tx>
            <c:strRef>
              <c:f>'A1.BalançoHid.sem.EATLNT002'!$BK$10</c:f>
              <c:strCache>
                <c:ptCount val="1"/>
                <c:pt idx="0">
                  <c:v>Capacidade Instalada (L/s)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A1.BalançoHid.sem.EATLNT002'!$BI$11:$BI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K$11:$BK$30</c:f>
              <c:numCache>
                <c:formatCode>_(* #,##0.00_);_(* \(#,##0.00\);_(* "-"??_);_(@_)</c:formatCode>
                <c:ptCount val="20"/>
                <c:pt idx="0">
                  <c:v>9031.6208385337632</c:v>
                </c:pt>
                <c:pt idx="1">
                  <c:v>9031.6208385337632</c:v>
                </c:pt>
                <c:pt idx="2">
                  <c:v>9031.6208385337632</c:v>
                </c:pt>
                <c:pt idx="3">
                  <c:v>10912.037505200429</c:v>
                </c:pt>
                <c:pt idx="4">
                  <c:v>10945.370838533761</c:v>
                </c:pt>
                <c:pt idx="5">
                  <c:v>11295.370838533761</c:v>
                </c:pt>
                <c:pt idx="6">
                  <c:v>10984.740546626374</c:v>
                </c:pt>
                <c:pt idx="7">
                  <c:v>10984.740546626374</c:v>
                </c:pt>
                <c:pt idx="8">
                  <c:v>10984.740546626374</c:v>
                </c:pt>
                <c:pt idx="9">
                  <c:v>11684.740546626374</c:v>
                </c:pt>
                <c:pt idx="10">
                  <c:v>11684.740546626374</c:v>
                </c:pt>
                <c:pt idx="11">
                  <c:v>11582.740546626374</c:v>
                </c:pt>
                <c:pt idx="12">
                  <c:v>12632.740546626374</c:v>
                </c:pt>
                <c:pt idx="13">
                  <c:v>12451.163511456658</c:v>
                </c:pt>
                <c:pt idx="14">
                  <c:v>12431.229479149142</c:v>
                </c:pt>
                <c:pt idx="15">
                  <c:v>13729.229479149142</c:v>
                </c:pt>
                <c:pt idx="16">
                  <c:v>13329.229479149142</c:v>
                </c:pt>
                <c:pt idx="17">
                  <c:v>12990.229479149142</c:v>
                </c:pt>
                <c:pt idx="18">
                  <c:v>12831.603198842471</c:v>
                </c:pt>
                <c:pt idx="19">
                  <c:v>12518.603198842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493-466B-B245-0BBE9464EC57}"/>
            </c:ext>
          </c:extLst>
        </c:ser>
        <c:ser>
          <c:idx val="2"/>
          <c:order val="1"/>
          <c:tx>
            <c:strRef>
              <c:f>'A1.BalançoHid.sem.EATLNT002'!$BL$10</c:f>
              <c:strCache>
                <c:ptCount val="1"/>
                <c:pt idx="0">
                  <c:v>Demanda projetada (L/s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A1.BalançoHid.sem.EATLNT002'!$BI$11:$BI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L$11:$BL$30</c:f>
              <c:numCache>
                <c:formatCode>_(* #,##0.00_);_(* \(#,##0.00\);_(* "-"??_);_(@_)</c:formatCode>
                <c:ptCount val="20"/>
                <c:pt idx="0">
                  <c:v>8394.7876173683435</c:v>
                </c:pt>
                <c:pt idx="1">
                  <c:v>8531.9406532866396</c:v>
                </c:pt>
                <c:pt idx="2">
                  <c:v>8666.7763912671235</c:v>
                </c:pt>
                <c:pt idx="3">
                  <c:v>8816.74839469178</c:v>
                </c:pt>
                <c:pt idx="4">
                  <c:v>8964.8549500570753</c:v>
                </c:pt>
                <c:pt idx="5">
                  <c:v>9110.0657648401811</c:v>
                </c:pt>
                <c:pt idx="6">
                  <c:v>9252.7546946347029</c:v>
                </c:pt>
                <c:pt idx="7">
                  <c:v>9391.8771946347024</c:v>
                </c:pt>
                <c:pt idx="8">
                  <c:v>9528.5997859589061</c:v>
                </c:pt>
                <c:pt idx="9">
                  <c:v>9661.675644977171</c:v>
                </c:pt>
                <c:pt idx="10">
                  <c:v>9792.0456578196336</c:v>
                </c:pt>
                <c:pt idx="11">
                  <c:v>9914.3761900684931</c:v>
                </c:pt>
                <c:pt idx="12">
                  <c:v>10033.733944063926</c:v>
                </c:pt>
                <c:pt idx="13">
                  <c:v>10148.781230022829</c:v>
                </c:pt>
                <c:pt idx="14">
                  <c:v>10260.636381278538</c:v>
                </c:pt>
                <c:pt idx="15">
                  <c:v>10367.889033961192</c:v>
                </c:pt>
                <c:pt idx="16">
                  <c:v>10471.767019121002</c:v>
                </c:pt>
                <c:pt idx="17">
                  <c:v>10570.801142979453</c:v>
                </c:pt>
                <c:pt idx="18">
                  <c:v>10672.147511875879</c:v>
                </c:pt>
                <c:pt idx="19">
                  <c:v>10775.87369463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493-466B-B245-0BBE9464EC57}"/>
            </c:ext>
          </c:extLst>
        </c:ser>
        <c:ser>
          <c:idx val="4"/>
          <c:order val="3"/>
          <c:tx>
            <c:v>Demana medida (L/s)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1.BalançoHid.sem.EATLNT002'!$BI$11:$BI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O$11:$BO$12</c:f>
              <c:numCache>
                <c:formatCode>_-* #,##0.0_-;\-* #,##0.0_-;_-* "-"??_-;_-@_-</c:formatCode>
                <c:ptCount val="2"/>
                <c:pt idx="0">
                  <c:v>8427.7999999999993</c:v>
                </c:pt>
                <c:pt idx="1">
                  <c:v>8597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493-466B-B245-0BBE9464E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27018607"/>
        <c:axId val="927014863"/>
      </c:lineChart>
      <c:catAx>
        <c:axId val="92701860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27014863"/>
        <c:crosses val="autoZero"/>
        <c:auto val="1"/>
        <c:lblAlgn val="ctr"/>
        <c:lblOffset val="100"/>
        <c:noMultiLvlLbl val="0"/>
      </c:catAx>
      <c:valAx>
        <c:axId val="9270148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27018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pt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Investimentos Água e Esgoto (por ano) - Acumulado (%)</a:t>
            </a:r>
          </a:p>
        </c:rich>
      </c:tx>
      <c:layout>
        <c:manualLayout>
          <c:xMode val="edge"/>
          <c:yMode val="edge"/>
          <c:x val="0.30963713338215387"/>
          <c:y val="2.11320104889507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7.2100702823705703E-2"/>
          <c:y val="0.12609250398724084"/>
          <c:w val="0.91505633161879285"/>
          <c:h val="0.5620882930718003"/>
        </c:manualLayout>
      </c:layout>
      <c:barChart>
        <c:barDir val="col"/>
        <c:grouping val="clustered"/>
        <c:varyColors val="0"/>
        <c:ser>
          <c:idx val="0"/>
          <c:order val="0"/>
          <c:tx>
            <c:v>Água</c:v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Síntese!$B$24:$S$24</c:f>
              <c:numCache>
                <c:formatCode>General</c:formatCode>
                <c:ptCount val="1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  <c:pt idx="9">
                  <c:v>2031</c:v>
                </c:pt>
                <c:pt idx="10">
                  <c:v>2032</c:v>
                </c:pt>
                <c:pt idx="11">
                  <c:v>2033</c:v>
                </c:pt>
                <c:pt idx="12">
                  <c:v>2034</c:v>
                </c:pt>
                <c:pt idx="13">
                  <c:v>2035</c:v>
                </c:pt>
                <c:pt idx="14">
                  <c:v>2036</c:v>
                </c:pt>
                <c:pt idx="15">
                  <c:v>2037</c:v>
                </c:pt>
                <c:pt idx="16">
                  <c:v>2038</c:v>
                </c:pt>
                <c:pt idx="17">
                  <c:v>2039</c:v>
                </c:pt>
              </c:numCache>
            </c:numRef>
          </c:cat>
          <c:val>
            <c:numRef>
              <c:f>Síntese!$B$37:$S$37</c:f>
              <c:numCache>
                <c:formatCode>0%</c:formatCode>
                <c:ptCount val="18"/>
                <c:pt idx="0">
                  <c:v>3.3813030696094558E-2</c:v>
                </c:pt>
                <c:pt idx="1">
                  <c:v>7.9098874274915534E-2</c:v>
                </c:pt>
                <c:pt idx="2">
                  <c:v>0.11786519407422974</c:v>
                </c:pt>
                <c:pt idx="3">
                  <c:v>0.13656598895566499</c:v>
                </c:pt>
                <c:pt idx="4">
                  <c:v>0.15481297545843783</c:v>
                </c:pt>
                <c:pt idx="5">
                  <c:v>0.19740838418677198</c:v>
                </c:pt>
                <c:pt idx="6">
                  <c:v>0.23810070665783908</c:v>
                </c:pt>
                <c:pt idx="7">
                  <c:v>0.25584366582750995</c:v>
                </c:pt>
                <c:pt idx="8">
                  <c:v>0.27312324473369565</c:v>
                </c:pt>
                <c:pt idx="9">
                  <c:v>0.31106253975221798</c:v>
                </c:pt>
                <c:pt idx="10">
                  <c:v>0.32749338652459525</c:v>
                </c:pt>
                <c:pt idx="11">
                  <c:v>0.38050066035678365</c:v>
                </c:pt>
                <c:pt idx="12">
                  <c:v>0.40887590010375874</c:v>
                </c:pt>
                <c:pt idx="13">
                  <c:v>0.42479016300314726</c:v>
                </c:pt>
                <c:pt idx="14">
                  <c:v>0.44074095208698638</c:v>
                </c:pt>
                <c:pt idx="15">
                  <c:v>0.45774645305710338</c:v>
                </c:pt>
                <c:pt idx="16">
                  <c:v>0.46025087645154034</c:v>
                </c:pt>
                <c:pt idx="17">
                  <c:v>0.4624904180707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C1-4B6B-AC1D-AA842A87286B}"/>
            </c:ext>
          </c:extLst>
        </c:ser>
        <c:ser>
          <c:idx val="1"/>
          <c:order val="1"/>
          <c:tx>
            <c:v>Esgoto</c:v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Síntese!$B$24:$S$24</c:f>
              <c:numCache>
                <c:formatCode>General</c:formatCode>
                <c:ptCount val="1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  <c:pt idx="9">
                  <c:v>2031</c:v>
                </c:pt>
                <c:pt idx="10">
                  <c:v>2032</c:v>
                </c:pt>
                <c:pt idx="11">
                  <c:v>2033</c:v>
                </c:pt>
                <c:pt idx="12">
                  <c:v>2034</c:v>
                </c:pt>
                <c:pt idx="13">
                  <c:v>2035</c:v>
                </c:pt>
                <c:pt idx="14">
                  <c:v>2036</c:v>
                </c:pt>
                <c:pt idx="15">
                  <c:v>2037</c:v>
                </c:pt>
                <c:pt idx="16">
                  <c:v>2038</c:v>
                </c:pt>
                <c:pt idx="17">
                  <c:v>2039</c:v>
                </c:pt>
              </c:numCache>
            </c:numRef>
          </c:cat>
          <c:val>
            <c:numRef>
              <c:f>Síntese!$B$38:$S$38</c:f>
              <c:numCache>
                <c:formatCode>0%</c:formatCode>
                <c:ptCount val="18"/>
                <c:pt idx="0">
                  <c:v>2.0068309996272977E-2</c:v>
                </c:pt>
                <c:pt idx="1">
                  <c:v>5.3729842617839627E-2</c:v>
                </c:pt>
                <c:pt idx="2">
                  <c:v>9.046579404874501E-2</c:v>
                </c:pt>
                <c:pt idx="3">
                  <c:v>0.15820547404996688</c:v>
                </c:pt>
                <c:pt idx="4">
                  <c:v>0.21070860215813167</c:v>
                </c:pt>
                <c:pt idx="5">
                  <c:v>0.29088952967141896</c:v>
                </c:pt>
                <c:pt idx="6">
                  <c:v>0.3402242203334207</c:v>
                </c:pt>
                <c:pt idx="7">
                  <c:v>0.35915303248148317</c:v>
                </c:pt>
                <c:pt idx="8">
                  <c:v>0.37734861121578323</c:v>
                </c:pt>
                <c:pt idx="9">
                  <c:v>0.39448291203133506</c:v>
                </c:pt>
                <c:pt idx="10">
                  <c:v>0.41179658363820615</c:v>
                </c:pt>
                <c:pt idx="11">
                  <c:v>0.43770873703714286</c:v>
                </c:pt>
                <c:pt idx="12">
                  <c:v>0.4585028651265422</c:v>
                </c:pt>
                <c:pt idx="13">
                  <c:v>0.48701380195197114</c:v>
                </c:pt>
                <c:pt idx="14">
                  <c:v>0.50718802148173403</c:v>
                </c:pt>
                <c:pt idx="15">
                  <c:v>0.52789178631359723</c:v>
                </c:pt>
                <c:pt idx="16">
                  <c:v>0.53448833923202277</c:v>
                </c:pt>
                <c:pt idx="17">
                  <c:v>0.53750958192927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C1-4B6B-AC1D-AA842A8728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705944"/>
        <c:axId val="658456984"/>
      </c:barChart>
      <c:lineChart>
        <c:grouping val="standard"/>
        <c:varyColors val="0"/>
        <c:ser>
          <c:idx val="2"/>
          <c:order val="2"/>
          <c:tx>
            <c:v>Total</c:v>
          </c:tx>
          <c:spPr>
            <a:ln w="317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íntese!$B$24:$S$24</c:f>
              <c:numCache>
                <c:formatCode>General</c:formatCode>
                <c:ptCount val="18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  <c:pt idx="9">
                  <c:v>2031</c:v>
                </c:pt>
                <c:pt idx="10">
                  <c:v>2032</c:v>
                </c:pt>
                <c:pt idx="11">
                  <c:v>2033</c:v>
                </c:pt>
                <c:pt idx="12">
                  <c:v>2034</c:v>
                </c:pt>
                <c:pt idx="13">
                  <c:v>2035</c:v>
                </c:pt>
                <c:pt idx="14">
                  <c:v>2036</c:v>
                </c:pt>
                <c:pt idx="15">
                  <c:v>2037</c:v>
                </c:pt>
                <c:pt idx="16">
                  <c:v>2038</c:v>
                </c:pt>
                <c:pt idx="17">
                  <c:v>2039</c:v>
                </c:pt>
              </c:numCache>
            </c:numRef>
          </c:cat>
          <c:val>
            <c:numRef>
              <c:f>Síntese!$B$39:$S$39</c:f>
              <c:numCache>
                <c:formatCode>0%</c:formatCode>
                <c:ptCount val="18"/>
                <c:pt idx="0">
                  <c:v>5.3881340692367531E-2</c:v>
                </c:pt>
                <c:pt idx="1">
                  <c:v>0.13282871689275516</c:v>
                </c:pt>
                <c:pt idx="2">
                  <c:v>0.20833098812297474</c:v>
                </c:pt>
                <c:pt idx="3">
                  <c:v>0.29477146300563184</c:v>
                </c:pt>
                <c:pt idx="4">
                  <c:v>0.36552157761656945</c:v>
                </c:pt>
                <c:pt idx="5">
                  <c:v>0.48829791385819088</c:v>
                </c:pt>
                <c:pt idx="6">
                  <c:v>0.5783249269912597</c:v>
                </c:pt>
                <c:pt idx="7">
                  <c:v>0.61499669830899306</c:v>
                </c:pt>
                <c:pt idx="8">
                  <c:v>0.65047185594947876</c:v>
                </c:pt>
                <c:pt idx="9">
                  <c:v>0.70554545178355299</c:v>
                </c:pt>
                <c:pt idx="10">
                  <c:v>0.7392899701628014</c:v>
                </c:pt>
                <c:pt idx="11">
                  <c:v>0.81820939739392651</c:v>
                </c:pt>
                <c:pt idx="12">
                  <c:v>0.86737876523030089</c:v>
                </c:pt>
                <c:pt idx="13">
                  <c:v>0.9118039649551184</c:v>
                </c:pt>
                <c:pt idx="14">
                  <c:v>0.94792897356872052</c:v>
                </c:pt>
                <c:pt idx="15">
                  <c:v>0.98563823937070072</c:v>
                </c:pt>
                <c:pt idx="16">
                  <c:v>0.99473921568356316</c:v>
                </c:pt>
                <c:pt idx="1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BC1-4B6B-AC1D-AA842A8728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1705944"/>
        <c:axId val="658456984"/>
      </c:lineChart>
      <c:catAx>
        <c:axId val="471705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58456984"/>
        <c:crosses val="autoZero"/>
        <c:auto val="1"/>
        <c:lblAlgn val="ctr"/>
        <c:lblOffset val="100"/>
        <c:noMultiLvlLbl val="0"/>
      </c:catAx>
      <c:valAx>
        <c:axId val="65845698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lor (R$)</a:t>
                </a:r>
              </a:p>
            </c:rich>
          </c:tx>
          <c:layout>
            <c:manualLayout>
              <c:xMode val="edge"/>
              <c:yMode val="edge"/>
              <c:x val="1.284296555750146E-2"/>
              <c:y val="0.427163721759660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170594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2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2">
          <a:lumMod val="15000"/>
          <a:lumOff val="85000"/>
        </a:schemeClr>
      </a:solidFill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40668070090618E-2"/>
          <c:y val="0.10311342677435502"/>
          <c:w val="0.8940500252370096"/>
          <c:h val="0.59344488531431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1.BalançoHid.sem.EATLNT002'!$BV$10</c:f>
              <c:strCache>
                <c:ptCount val="1"/>
                <c:pt idx="0">
                  <c:v>Icci (%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A1.BalançoHid.sem.EATLNT002'!$BI$11:$BI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N$11:$BN$30</c:f>
              <c:numCache>
                <c:formatCode>0</c:formatCode>
                <c:ptCount val="20"/>
                <c:pt idx="0">
                  <c:v>92.948849021115393</c:v>
                </c:pt>
                <c:pt idx="1">
                  <c:v>94.467436197994289</c:v>
                </c:pt>
                <c:pt idx="2">
                  <c:v>95.96036576613119</c:v>
                </c:pt>
                <c:pt idx="3">
                  <c:v>80.798369603201209</c:v>
                </c:pt>
                <c:pt idx="4">
                  <c:v>81.905447355843137</c:v>
                </c:pt>
                <c:pt idx="5">
                  <c:v>80.653091386442227</c:v>
                </c:pt>
                <c:pt idx="6">
                  <c:v>84.232801451795808</c:v>
                </c:pt>
                <c:pt idx="7">
                  <c:v>85.499308379378419</c:v>
                </c:pt>
                <c:pt idx="8">
                  <c:v>86.74396764778686</c:v>
                </c:pt>
                <c:pt idx="9">
                  <c:v>82.686265958782428</c:v>
                </c:pt>
                <c:pt idx="10">
                  <c:v>83.8019947361758</c:v>
                </c:pt>
                <c:pt idx="11">
                  <c:v>85.596117345097454</c:v>
                </c:pt>
                <c:pt idx="12">
                  <c:v>79.426423007978869</c:v>
                </c:pt>
                <c:pt idx="13">
                  <c:v>81.508697726800037</c:v>
                </c:pt>
                <c:pt idx="14">
                  <c:v>82.539192108782714</c:v>
                </c:pt>
                <c:pt idx="15">
                  <c:v>75.516903914433897</c:v>
                </c:pt>
                <c:pt idx="16">
                  <c:v>78.562433301204265</c:v>
                </c:pt>
                <c:pt idx="17">
                  <c:v>81.375014659647405</c:v>
                </c:pt>
                <c:pt idx="18">
                  <c:v>83.170803729643112</c:v>
                </c:pt>
                <c:pt idx="19">
                  <c:v>86.078882152176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9D-4636-8F1F-22C75502D3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7752783"/>
        <c:axId val="717765263"/>
      </c:barChart>
      <c:lineChart>
        <c:grouping val="standard"/>
        <c:varyColors val="0"/>
        <c:ser>
          <c:idx val="1"/>
          <c:order val="1"/>
          <c:tx>
            <c:strRef>
              <c:f>'A1.BalançoHid.sem.EATLNT002'!$BH$10</c:f>
              <c:strCache>
                <c:ptCount val="1"/>
                <c:pt idx="0">
                  <c:v>Ref.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A1.BalançoHid.sem.EATLNT002'!$BQ$11:$BQ$30</c:f>
              <c:numCache>
                <c:formatCode>General</c:formatCode>
                <c:ptCount val="20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</c:numCache>
            </c:numRef>
          </c:cat>
          <c:val>
            <c:numRef>
              <c:f>'A1.BalançoHid.sem.EATLNT002'!$BH$11:$BH$30</c:f>
              <c:numCache>
                <c:formatCode>General</c:formatCode>
                <c:ptCount val="20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09D-4636-8F1F-22C75502D3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7752783"/>
        <c:axId val="717765263"/>
      </c:lineChart>
      <c:catAx>
        <c:axId val="71775278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765263"/>
        <c:crosses val="autoZero"/>
        <c:auto val="1"/>
        <c:lblAlgn val="ctr"/>
        <c:lblOffset val="100"/>
        <c:noMultiLvlLbl val="0"/>
      </c:catAx>
      <c:valAx>
        <c:axId val="717765263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Icci (%)</a:t>
                </a:r>
              </a:p>
            </c:rich>
          </c:tx>
          <c:layout>
            <c:manualLayout>
              <c:xMode val="edge"/>
              <c:yMode val="edge"/>
              <c:x val="2.1840168206723919E-2"/>
              <c:y val="0.288113367253790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75278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827650320597286"/>
          <c:y val="0.91617311587651551"/>
          <c:w val="0.18858593846395441"/>
          <c:h val="5.54100228968318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icadores e Metas do PL Exploracao.xlsx]PivotChartTable7</c:name>
    <c:fmtId val="1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pt-BR" sz="1800" b="1"/>
              <a:t>Índice de perdas na distribuição</a:t>
            </a:r>
          </a:p>
        </c:rich>
      </c:tx>
      <c:layout>
        <c:manualLayout>
          <c:xMode val="edge"/>
          <c:yMode val="edge"/>
          <c:x val="0.37769591484044834"/>
          <c:y val="3.75586761897462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ivotFmts>
      <c:pivotFmt>
        <c:idx val="0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3441407856951415"/>
          <c:y val="0.13970472078549881"/>
          <c:w val="0.87540665723620792"/>
          <c:h val="0.54888949296033596"/>
        </c:manualLayout>
      </c:layout>
      <c:lineChart>
        <c:grouping val="standard"/>
        <c:varyColors val="0"/>
        <c:ser>
          <c:idx val="0"/>
          <c:order val="0"/>
          <c:tx>
            <c:v>Resultado (n)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#,##0.0</c:formatCode>
              <c:ptCount val="26"/>
              <c:pt idx="0">
                <c:v>33.380000000000003</c:v>
              </c:pt>
              <c:pt idx="1">
                <c:v>35.19</c:v>
              </c:pt>
              <c:pt idx="2">
                <c:v>35.21</c:v>
              </c:pt>
              <c:pt idx="3">
                <c:v>33.74</c:v>
              </c:pt>
              <c:pt idx="4">
                <c:v>34.49</c:v>
              </c:pt>
              <c:pt idx="5">
                <c:v>32.1</c:v>
              </c:pt>
              <c:pt idx="6">
                <c:v>34.369999999999997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DEEC-426C-8D0A-88F8BA0B041B}"/>
            </c:ext>
          </c:extLst>
        </c:ser>
        <c:ser>
          <c:idx val="1"/>
          <c:order val="1"/>
          <c:tx>
            <c:v>Meta (i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0</c:v>
              </c:pt>
              <c:pt idx="8" formatCode="#,##0.0">
                <c:v>0</c:v>
              </c:pt>
              <c:pt idx="9" formatCode="#,##0.0">
                <c:v>0</c:v>
              </c:pt>
              <c:pt idx="10" formatCode="#,##0.0">
                <c:v>0</c:v>
              </c:pt>
              <c:pt idx="11" formatCode="#,##0.0">
                <c:v>0</c:v>
              </c:pt>
              <c:pt idx="12" formatCode="#,##0.0">
                <c:v>0</c:v>
              </c:pt>
              <c:pt idx="13" formatCode="#,##0.0">
                <c:v>0</c:v>
              </c:pt>
              <c:pt idx="14" formatCode="#,##0.0">
                <c:v>0</c:v>
              </c:pt>
              <c:pt idx="15" formatCode="#,##0.0">
                <c:v>0</c:v>
              </c:pt>
              <c:pt idx="16" formatCode="#,##0.0">
                <c:v>0</c:v>
              </c:pt>
              <c:pt idx="17" formatCode="#,##0.0">
                <c:v>0</c:v>
              </c:pt>
              <c:pt idx="18" formatCode="#,##0.0">
                <c:v>0</c:v>
              </c:pt>
              <c:pt idx="19" formatCode="#,##0.0">
                <c:v>0</c:v>
              </c:pt>
              <c:pt idx="20" formatCode="#,##0.0">
                <c:v>0</c:v>
              </c:pt>
              <c:pt idx="21" formatCode="#,##0.0">
                <c:v>0</c:v>
              </c:pt>
              <c:pt idx="22" formatCode="#,##0.0">
                <c:v>0</c:v>
              </c:pt>
              <c:pt idx="23" formatCode="#,##0.0">
                <c:v>0</c:v>
              </c:pt>
              <c:pt idx="24" formatCode="#,##0.0">
                <c:v>0</c:v>
              </c:pt>
              <c:pt idx="25" formatCode="#,##0.0">
                <c:v>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DEEC-426C-8D0A-88F8BA0B041B}"/>
            </c:ext>
          </c:extLst>
        </c:ser>
        <c:ser>
          <c:idx val="2"/>
          <c:order val="2"/>
          <c:tx>
            <c:v>Meta (f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35</c:v>
              </c:pt>
              <c:pt idx="8" formatCode="#,##0.0">
                <c:v>35</c:v>
              </c:pt>
              <c:pt idx="9" formatCode="#,##0.0">
                <c:v>33.25</c:v>
              </c:pt>
              <c:pt idx="10" formatCode="#,##0.0">
                <c:v>33.25</c:v>
              </c:pt>
              <c:pt idx="11" formatCode="#,##0.0">
                <c:v>31.5</c:v>
              </c:pt>
              <c:pt idx="12" formatCode="#,##0.0">
                <c:v>31.5</c:v>
              </c:pt>
              <c:pt idx="13" formatCode="#,##0.0">
                <c:v>29.75</c:v>
              </c:pt>
              <c:pt idx="14" formatCode="#,##0.0">
                <c:v>29.75</c:v>
              </c:pt>
              <c:pt idx="15" formatCode="#,##0.0">
                <c:v>28</c:v>
              </c:pt>
              <c:pt idx="16" formatCode="#,##0.0">
                <c:v>28</c:v>
              </c:pt>
              <c:pt idx="17" formatCode="#,##0.0">
                <c:v>26.25</c:v>
              </c:pt>
              <c:pt idx="18" formatCode="#,##0.0">
                <c:v>26.25</c:v>
              </c:pt>
              <c:pt idx="19" formatCode="#,##0.0">
                <c:v>25</c:v>
              </c:pt>
              <c:pt idx="20" formatCode="#,##0.0">
                <c:v>25</c:v>
              </c:pt>
              <c:pt idx="21" formatCode="#,##0.0">
                <c:v>25</c:v>
              </c:pt>
              <c:pt idx="22" formatCode="#,##0.0">
                <c:v>25</c:v>
              </c:pt>
              <c:pt idx="23" formatCode="#,##0.0">
                <c:v>25</c:v>
              </c:pt>
              <c:pt idx="24" formatCode="#,##0.0">
                <c:v>25</c:v>
              </c:pt>
              <c:pt idx="25" formatCode="#,##0.0">
                <c:v>25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2-DEEC-426C-8D0A-88F8BA0B0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3222719"/>
        <c:axId val="1523236863"/>
      </c:lineChart>
      <c:catAx>
        <c:axId val="152322271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36863"/>
        <c:crosses val="autoZero"/>
        <c:auto val="1"/>
        <c:lblAlgn val="ctr"/>
        <c:lblOffset val="100"/>
        <c:noMultiLvlLbl val="0"/>
        <c:extLst/>
      </c:catAx>
      <c:valAx>
        <c:axId val="1523236863"/>
        <c:scaling>
          <c:orientation val="minMax"/>
          <c:max val="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Resultado (%)</a:t>
                </a:r>
              </a:p>
            </c:rich>
          </c:tx>
          <c:layout>
            <c:manualLayout>
              <c:xMode val="edge"/>
              <c:yMode val="edge"/>
              <c:x val="5.3084254613177104E-2"/>
              <c:y val="0.285290923245986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22719"/>
        <c:crosses val="autoZero"/>
        <c:crossBetween val="between"/>
        <c:extLst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36557214926832"/>
          <c:y val="0.93110989584860804"/>
          <c:w val="0.34245884606236621"/>
          <c:h val="5.2817258063840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56117088940226"/>
          <c:y val="0.12358389400199681"/>
          <c:w val="0.77831575298370725"/>
          <c:h val="0.54023188074039663"/>
        </c:manualLayout>
      </c:layout>
      <c:barChart>
        <c:barDir val="col"/>
        <c:grouping val="stacked"/>
        <c:varyColors val="0"/>
        <c:ser>
          <c:idx val="0"/>
          <c:order val="1"/>
          <c:tx>
            <c:strRef>
              <c:f>'GRAF RESUMO'!$D$9</c:f>
              <c:strCache>
                <c:ptCount val="1"/>
                <c:pt idx="0">
                  <c:v>Demanda 2020 (L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D$10:$D$16</c:f>
              <c:numCache>
                <c:formatCode>_(* #,##0.00_);_(* \(#,##0.00\);_(* "-"??_);_(@_)</c:formatCode>
                <c:ptCount val="7"/>
                <c:pt idx="0">
                  <c:v>1525.2122776132092</c:v>
                </c:pt>
                <c:pt idx="1">
                  <c:v>4753.386234756581</c:v>
                </c:pt>
                <c:pt idx="2">
                  <c:v>1011.4703882740162</c:v>
                </c:pt>
                <c:pt idx="3">
                  <c:v>467.57839608651625</c:v>
                </c:pt>
                <c:pt idx="4">
                  <c:v>516.71221679687505</c:v>
                </c:pt>
                <c:pt idx="5">
                  <c:v>120.42810384114583</c:v>
                </c:pt>
                <c:pt idx="6">
                  <c:v>8394.7876173683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FC-48DB-B095-8792186E6391}"/>
            </c:ext>
          </c:extLst>
        </c:ser>
        <c:ser>
          <c:idx val="2"/>
          <c:order val="2"/>
          <c:tx>
            <c:strRef>
              <c:f>'GRAF RESUMO'!$F$9</c:f>
              <c:strCache>
                <c:ptCount val="1"/>
                <c:pt idx="0">
                  <c:v>Saldo 2020 (L/s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3FC-48DB-B095-8792186E6391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3FC-48DB-B095-8792186E6391}"/>
              </c:ext>
            </c:extLst>
          </c:dPt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F$10:$F$16</c:f>
              <c:numCache>
                <c:formatCode>_(* #,##0.00_);_(* \(#,##0.00\);_(* "-"??_);_(@_)</c:formatCode>
                <c:ptCount val="7"/>
                <c:pt idx="0">
                  <c:v>571.78772238679085</c:v>
                </c:pt>
                <c:pt idx="1">
                  <c:v>113.75571410539123</c:v>
                </c:pt>
                <c:pt idx="2">
                  <c:v>-84.28890946013712</c:v>
                </c:pt>
                <c:pt idx="3">
                  <c:v>112.89879292422108</c:v>
                </c:pt>
                <c:pt idx="4">
                  <c:v>-82.103244930202322</c:v>
                </c:pt>
                <c:pt idx="5">
                  <c:v>4.7831461393541872</c:v>
                </c:pt>
                <c:pt idx="6">
                  <c:v>636.83322116541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FC-48DB-B095-8792186E63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17806863"/>
        <c:axId val="717821423"/>
      </c:barChart>
      <c:lineChart>
        <c:grouping val="standard"/>
        <c:varyColors val="0"/>
        <c:ser>
          <c:idx val="1"/>
          <c:order val="0"/>
          <c:tx>
            <c:strRef>
              <c:f>'GRAF RESUMO'!$E$9</c:f>
              <c:strCache>
                <c:ptCount val="1"/>
                <c:pt idx="0">
                  <c:v>Capacidade 2020 (L/s)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E$10:$E$16</c:f>
              <c:numCache>
                <c:formatCode>_(* #,##0.00_);_(* \(#,##0.00\);_(* "-"??_);_(@_)</c:formatCode>
                <c:ptCount val="7"/>
                <c:pt idx="0">
                  <c:v>2097</c:v>
                </c:pt>
                <c:pt idx="1">
                  <c:v>4867.1419488619722</c:v>
                </c:pt>
                <c:pt idx="2">
                  <c:v>927.18147881387904</c:v>
                </c:pt>
                <c:pt idx="3">
                  <c:v>580.47718901073733</c:v>
                </c:pt>
                <c:pt idx="4">
                  <c:v>434.60897186667273</c:v>
                </c:pt>
                <c:pt idx="5">
                  <c:v>125.21124998050001</c:v>
                </c:pt>
                <c:pt idx="6">
                  <c:v>9031.6208385337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3FC-48DB-B095-8792186E63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7806863"/>
        <c:axId val="717821423"/>
      </c:lineChart>
      <c:catAx>
        <c:axId val="717806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>
                    <a:solidFill>
                      <a:schemeClr val="tx1"/>
                    </a:solidFill>
                  </a:rPr>
                  <a:t>Demanda</a:t>
                </a:r>
              </a:p>
            </c:rich>
          </c:tx>
          <c:layout>
            <c:manualLayout>
              <c:xMode val="edge"/>
              <c:yMode val="edge"/>
              <c:x val="0.54632868743501661"/>
              <c:y val="0.936907436413842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solidFill>
            <a:srgbClr val="FF0000"/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21423"/>
        <c:crosses val="autoZero"/>
        <c:auto val="1"/>
        <c:lblAlgn val="ctr"/>
        <c:lblOffset val="100"/>
        <c:noMultiLvlLbl val="0"/>
      </c:catAx>
      <c:valAx>
        <c:axId val="71782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layout>
            <c:manualLayout>
              <c:xMode val="edge"/>
              <c:yMode val="edge"/>
              <c:x val="8.7771436786322085E-2"/>
              <c:y val="0.243310076714832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0686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65483377651592"/>
          <c:y val="9.5806175269757946E-2"/>
          <c:w val="0.79722206756402825"/>
          <c:h val="0.5822428186060075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 RESUMO'!$H$9</c:f>
              <c:strCache>
                <c:ptCount val="1"/>
                <c:pt idx="0">
                  <c:v>Demanda 2039 (L/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H$10:$H$16</c:f>
              <c:numCache>
                <c:formatCode>_(* #,##0.00_);_(* \(#,##0.00\);_(* "-"??_);_(@_)</c:formatCode>
                <c:ptCount val="7"/>
                <c:pt idx="0">
                  <c:v>1485.1639052961834</c:v>
                </c:pt>
                <c:pt idx="1">
                  <c:v>5834.4120579099235</c:v>
                </c:pt>
                <c:pt idx="2">
                  <c:v>1426.7963774728466</c:v>
                </c:pt>
                <c:pt idx="3">
                  <c:v>696.85217877669629</c:v>
                </c:pt>
                <c:pt idx="4">
                  <c:v>1193.0571512814877</c:v>
                </c:pt>
                <c:pt idx="5">
                  <c:v>139.59202389302129</c:v>
                </c:pt>
                <c:pt idx="6">
                  <c:v>10775.87369463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D7-4A25-91AE-42C96FB601D2}"/>
            </c:ext>
          </c:extLst>
        </c:ser>
        <c:ser>
          <c:idx val="2"/>
          <c:order val="2"/>
          <c:tx>
            <c:strRef>
              <c:f>'GRAF RESUMO'!$J$9</c:f>
              <c:strCache>
                <c:ptCount val="1"/>
                <c:pt idx="0">
                  <c:v>Saldo 2039 (L/s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J$10:$J$16</c:f>
              <c:numCache>
                <c:formatCode>_(* #,##0.00_);_(* \(#,##0.00\);_(* "-"??_);_(@_)</c:formatCode>
                <c:ptCount val="7"/>
                <c:pt idx="0">
                  <c:v>440.83609470381657</c:v>
                </c:pt>
                <c:pt idx="1">
                  <c:v>802.72989095204866</c:v>
                </c:pt>
                <c:pt idx="2">
                  <c:v>274.1202891938201</c:v>
                </c:pt>
                <c:pt idx="3">
                  <c:v>128.14782122330382</c:v>
                </c:pt>
                <c:pt idx="4">
                  <c:v>77.942848718512323</c:v>
                </c:pt>
                <c:pt idx="5">
                  <c:v>18.952559420812065</c:v>
                </c:pt>
                <c:pt idx="6">
                  <c:v>1742.729504212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D7-4A25-91AE-42C96FB601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17806863"/>
        <c:axId val="717821423"/>
      </c:barChart>
      <c:lineChart>
        <c:grouping val="standard"/>
        <c:varyColors val="0"/>
        <c:ser>
          <c:idx val="1"/>
          <c:order val="1"/>
          <c:tx>
            <c:strRef>
              <c:f>'GRAF RESUMO'!$I$9</c:f>
              <c:strCache>
                <c:ptCount val="1"/>
                <c:pt idx="0">
                  <c:v>Capacidade 2039 (L/s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I$10:$I$16</c:f>
              <c:numCache>
                <c:formatCode>_(* #,##0.00_);_(* \(#,##0.00\);_(* "-"??_);_(@_)</c:formatCode>
                <c:ptCount val="7"/>
                <c:pt idx="0">
                  <c:v>1926</c:v>
                </c:pt>
                <c:pt idx="1">
                  <c:v>6637.1419488619722</c:v>
                </c:pt>
                <c:pt idx="2">
                  <c:v>1700.9166666666667</c:v>
                </c:pt>
                <c:pt idx="3">
                  <c:v>825.00000000000011</c:v>
                </c:pt>
                <c:pt idx="4">
                  <c:v>1271</c:v>
                </c:pt>
                <c:pt idx="5">
                  <c:v>158.54458331383336</c:v>
                </c:pt>
                <c:pt idx="6">
                  <c:v>12518.603198842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D7-4A25-91AE-42C96FB601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7806863"/>
        <c:axId val="717821423"/>
      </c:lineChart>
      <c:catAx>
        <c:axId val="717806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Demanda</a:t>
                </a:r>
              </a:p>
            </c:rich>
          </c:tx>
          <c:layout>
            <c:manualLayout>
              <c:xMode val="edge"/>
              <c:yMode val="edge"/>
              <c:x val="0.53407387354863445"/>
              <c:y val="0.937154427490505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21423"/>
        <c:crosses val="autoZero"/>
        <c:auto val="1"/>
        <c:lblAlgn val="ctr"/>
        <c:lblOffset val="100"/>
        <c:noMultiLvlLbl val="0"/>
      </c:catAx>
      <c:valAx>
        <c:axId val="71782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layout>
            <c:manualLayout>
              <c:xMode val="edge"/>
              <c:yMode val="edge"/>
              <c:x val="5.4341999514139282E-2"/>
              <c:y val="0.327076509801384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0686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43831567758519"/>
          <c:y val="6.4849461347238138E-2"/>
          <c:w val="0.80843864790385145"/>
          <c:h val="0.50807573270798312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'GRAF RESUMO'!$G$9</c:f>
              <c:strCache>
                <c:ptCount val="1"/>
                <c:pt idx="0">
                  <c:v>Icci 2020 (%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G$10:$G$16</c:f>
              <c:numCache>
                <c:formatCode>0%</c:formatCode>
                <c:ptCount val="7"/>
                <c:pt idx="0">
                  <c:v>0.72733060448889331</c:v>
                </c:pt>
                <c:pt idx="1">
                  <c:v>0.97662782074149501</c:v>
                </c:pt>
                <c:pt idx="2">
                  <c:v>1.0909087502135675</c:v>
                </c:pt>
                <c:pt idx="3">
                  <c:v>0.80550692591964579</c:v>
                </c:pt>
                <c:pt idx="4">
                  <c:v>1.1889129084877466</c:v>
                </c:pt>
                <c:pt idx="5">
                  <c:v>0.96179938991025893</c:v>
                </c:pt>
                <c:pt idx="6">
                  <c:v>0.92948849021115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4F-43D6-96C7-A16BD78BE9A9}"/>
            </c:ext>
          </c:extLst>
        </c:ser>
        <c:ser>
          <c:idx val="1"/>
          <c:order val="0"/>
          <c:tx>
            <c:strRef>
              <c:f>'GRAF RESUMO'!$K$9</c:f>
              <c:strCache>
                <c:ptCount val="1"/>
                <c:pt idx="0">
                  <c:v>Icci 2039 (%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K$10:$K$16</c:f>
              <c:numCache>
                <c:formatCode>0%</c:formatCode>
                <c:ptCount val="7"/>
                <c:pt idx="0">
                  <c:v>0.77111313878306509</c:v>
                </c:pt>
                <c:pt idx="1">
                  <c:v>0.87905488580221081</c:v>
                </c:pt>
                <c:pt idx="2">
                  <c:v>0.83883967123973147</c:v>
                </c:pt>
                <c:pt idx="3">
                  <c:v>0.84466930760811665</c:v>
                </c:pt>
                <c:pt idx="4">
                  <c:v>0.93867596481627669</c:v>
                </c:pt>
                <c:pt idx="5">
                  <c:v>0.88045911739982852</c:v>
                </c:pt>
                <c:pt idx="6">
                  <c:v>0.86078882152176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4F-43D6-96C7-A16BD78BE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7806863"/>
        <c:axId val="717821423"/>
      </c:barChart>
      <c:lineChart>
        <c:grouping val="standard"/>
        <c:varyColors val="0"/>
        <c:ser>
          <c:idx val="0"/>
          <c:order val="2"/>
          <c:tx>
            <c:strRef>
              <c:f>'GRAF RESUMO'!$Q$9</c:f>
              <c:strCache>
                <c:ptCount val="1"/>
                <c:pt idx="0">
                  <c:v>Ref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Q$10:$Q$16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74F-43D6-96C7-A16BD78BE9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7806863"/>
        <c:axId val="717821423"/>
      </c:lineChart>
      <c:catAx>
        <c:axId val="717806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istema</a:t>
                </a:r>
              </a:p>
            </c:rich>
          </c:tx>
          <c:layout>
            <c:manualLayout>
              <c:xMode val="edge"/>
              <c:yMode val="edge"/>
              <c:x val="0.51126896871078109"/>
              <c:y val="0.94052159126197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21423"/>
        <c:crosses val="autoZero"/>
        <c:auto val="1"/>
        <c:lblAlgn val="ctr"/>
        <c:lblOffset val="100"/>
        <c:noMultiLvlLbl val="0"/>
      </c:catAx>
      <c:valAx>
        <c:axId val="717821423"/>
        <c:scaling>
          <c:orientation val="minMax"/>
          <c:max val="1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layout>
            <c:manualLayout>
              <c:xMode val="edge"/>
              <c:yMode val="edge"/>
              <c:x val="6.1190454056320065E-2"/>
              <c:y val="0.2019467787706246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0686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pt-BR" dirty="0"/>
              <a:t>Investimentos</a:t>
            </a:r>
          </a:p>
        </c:rich>
      </c:tx>
      <c:layout>
        <c:manualLayout>
          <c:xMode val="edge"/>
          <c:yMode val="edge"/>
          <c:x val="0.35023907491931427"/>
          <c:y val="2.30886212184428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2551231173487396"/>
          <c:y val="0.14417881438289601"/>
          <c:w val="0.72340307646871582"/>
          <c:h val="0.390465748503585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íntese!$G$5</c:f>
              <c:strCache>
                <c:ptCount val="1"/>
                <c:pt idx="0">
                  <c:v> Águ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íntese!$H$4:$K$4</c:f>
              <c:strCache>
                <c:ptCount val="4"/>
                <c:pt idx="0">
                  <c:v>Curto (2022-2023)</c:v>
                </c:pt>
                <c:pt idx="1">
                  <c:v>Médio (2024-2027)</c:v>
                </c:pt>
                <c:pt idx="2">
                  <c:v>Longo (2028-2039)</c:v>
                </c:pt>
                <c:pt idx="3">
                  <c:v>Total</c:v>
                </c:pt>
              </c:strCache>
            </c:strRef>
          </c:cat>
          <c:val>
            <c:numRef>
              <c:f>Síntese!$H$5:$K$5</c:f>
              <c:numCache>
                <c:formatCode>_(* #,##0.00_);_(* \(#,##0.00\);_(* "-"??_);_(@_)</c:formatCode>
                <c:ptCount val="4"/>
                <c:pt idx="0">
                  <c:v>494663221.28711551</c:v>
                </c:pt>
                <c:pt idx="1">
                  <c:v>739876057.88794661</c:v>
                </c:pt>
                <c:pt idx="2">
                  <c:v>1657752199.2365456</c:v>
                </c:pt>
                <c:pt idx="3">
                  <c:v>2892291478.4116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AB-4599-AFB7-9F604517593D}"/>
            </c:ext>
          </c:extLst>
        </c:ser>
        <c:ser>
          <c:idx val="1"/>
          <c:order val="1"/>
          <c:tx>
            <c:strRef>
              <c:f>Síntese!$G$6</c:f>
              <c:strCache>
                <c:ptCount val="1"/>
                <c:pt idx="0">
                  <c:v>Esgot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íntese!$H$4:$K$4</c:f>
              <c:strCache>
                <c:ptCount val="4"/>
                <c:pt idx="0">
                  <c:v>Curto (2022-2023)</c:v>
                </c:pt>
                <c:pt idx="1">
                  <c:v>Médio (2024-2027)</c:v>
                </c:pt>
                <c:pt idx="2">
                  <c:v>Longo (2028-2039)</c:v>
                </c:pt>
                <c:pt idx="3">
                  <c:v>Total</c:v>
                </c:pt>
              </c:strCache>
            </c:strRef>
          </c:cat>
          <c:val>
            <c:numRef>
              <c:f>Síntese!$H$6:$K$6</c:f>
              <c:numCache>
                <c:formatCode>_(* #,##0.00_);_(* \(#,##0.00\);_(* "-"??_);_(@_)</c:formatCode>
                <c:ptCount val="4"/>
                <c:pt idx="0">
                  <c:v>336012076.93822998</c:v>
                </c:pt>
                <c:pt idx="1">
                  <c:v>1483133304.1432598</c:v>
                </c:pt>
                <c:pt idx="2">
                  <c:v>1542295899.9374256</c:v>
                </c:pt>
                <c:pt idx="3">
                  <c:v>3361441281.0189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AB-4599-AFB7-9F604517593D}"/>
            </c:ext>
          </c:extLst>
        </c:ser>
        <c:ser>
          <c:idx val="2"/>
          <c:order val="2"/>
          <c:tx>
            <c:strRef>
              <c:f>Síntese!$G$7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íntese!$H$4:$K$4</c:f>
              <c:strCache>
                <c:ptCount val="4"/>
                <c:pt idx="0">
                  <c:v>Curto (2022-2023)</c:v>
                </c:pt>
                <c:pt idx="1">
                  <c:v>Médio (2024-2027)</c:v>
                </c:pt>
                <c:pt idx="2">
                  <c:v>Longo (2028-2039)</c:v>
                </c:pt>
                <c:pt idx="3">
                  <c:v>Total</c:v>
                </c:pt>
              </c:strCache>
            </c:strRef>
          </c:cat>
          <c:val>
            <c:numRef>
              <c:f>Síntese!$H$7:$K$7</c:f>
              <c:numCache>
                <c:formatCode>_(* #,##0.00_);_(* \(#,##0.00\);_(* "-"??_);_(@_)</c:formatCode>
                <c:ptCount val="4"/>
                <c:pt idx="0">
                  <c:v>830675298.22534549</c:v>
                </c:pt>
                <c:pt idx="1">
                  <c:v>2223009362.0312061</c:v>
                </c:pt>
                <c:pt idx="2">
                  <c:v>3200048099.1739712</c:v>
                </c:pt>
                <c:pt idx="3">
                  <c:v>6253732759.4305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AB-4599-AFB7-9F60451759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48534928"/>
        <c:axId val="748528272"/>
      </c:barChart>
      <c:catAx>
        <c:axId val="7485349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Praz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48528272"/>
        <c:crosses val="autoZero"/>
        <c:auto val="1"/>
        <c:lblAlgn val="ctr"/>
        <c:lblOffset val="100"/>
        <c:noMultiLvlLbl val="0"/>
      </c:catAx>
      <c:valAx>
        <c:axId val="74852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Investimento (R$)</a:t>
                </a:r>
              </a:p>
            </c:rich>
          </c:tx>
          <c:layout>
            <c:manualLayout>
              <c:xMode val="edge"/>
              <c:yMode val="edge"/>
              <c:x val="8.0914539673147115E-2"/>
              <c:y val="0.1912745931551795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4853492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</c:dispUnitsLbl>
        </c:dispUnits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7806919449856472"/>
          <c:y val="0.91107825807488352"/>
          <c:w val="0.2054158800306963"/>
          <c:h val="6.01608319898853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icadores e Metas do PL Exploracao.xlsx]PivotChartTable6</c:name>
    <c:fmtId val="1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pt-BR" sz="1800" b="1"/>
              <a:t>Índice de atendimento de água</a:t>
            </a:r>
          </a:p>
        </c:rich>
      </c:tx>
      <c:layout>
        <c:manualLayout>
          <c:xMode val="edge"/>
          <c:yMode val="edge"/>
          <c:x val="0.40666719204839646"/>
          <c:y val="3.60467702329977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ivotFmts>
      <c:pivotFmt>
        <c:idx val="0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3441407856951415"/>
          <c:y val="0.13970472078549881"/>
          <c:w val="0.87540665723620792"/>
          <c:h val="0.5582791620077725"/>
        </c:manualLayout>
      </c:layout>
      <c:lineChart>
        <c:grouping val="standard"/>
        <c:varyColors val="0"/>
        <c:ser>
          <c:idx val="0"/>
          <c:order val="0"/>
          <c:tx>
            <c:v>Resultado (n)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#,##0.0</c:formatCode>
              <c:ptCount val="26"/>
              <c:pt idx="0">
                <c:v>97.46</c:v>
              </c:pt>
              <c:pt idx="1">
                <c:v>98.98</c:v>
              </c:pt>
              <c:pt idx="2">
                <c:v>99.06</c:v>
              </c:pt>
              <c:pt idx="3">
                <c:v>98.71</c:v>
              </c:pt>
              <c:pt idx="4">
                <c:v>99</c:v>
              </c:pt>
              <c:pt idx="5">
                <c:v>99</c:v>
              </c:pt>
              <c:pt idx="6">
                <c:v>99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2FB8-4412-A989-2C356FBCA3E6}"/>
            </c:ext>
          </c:extLst>
        </c:ser>
        <c:ser>
          <c:idx val="1"/>
          <c:order val="1"/>
          <c:tx>
            <c:v>Meta (i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99</c:v>
              </c:pt>
              <c:pt idx="8" formatCode="#,##0.0">
                <c:v>99</c:v>
              </c:pt>
              <c:pt idx="9" formatCode="#,##0.0">
                <c:v>99</c:v>
              </c:pt>
              <c:pt idx="10" formatCode="#,##0.0">
                <c:v>99</c:v>
              </c:pt>
              <c:pt idx="11" formatCode="#,##0.0">
                <c:v>99</c:v>
              </c:pt>
              <c:pt idx="12" formatCode="#,##0.0">
                <c:v>99</c:v>
              </c:pt>
              <c:pt idx="13" formatCode="#,##0.0">
                <c:v>99</c:v>
              </c:pt>
              <c:pt idx="14" formatCode="#,##0.0">
                <c:v>99</c:v>
              </c:pt>
              <c:pt idx="15" formatCode="#,##0.0">
                <c:v>99</c:v>
              </c:pt>
              <c:pt idx="16" formatCode="#,##0.0">
                <c:v>99</c:v>
              </c:pt>
              <c:pt idx="17" formatCode="#,##0.0">
                <c:v>99</c:v>
              </c:pt>
              <c:pt idx="18" formatCode="#,##0.0">
                <c:v>99</c:v>
              </c:pt>
              <c:pt idx="19" formatCode="#,##0.0">
                <c:v>99</c:v>
              </c:pt>
              <c:pt idx="20" formatCode="#,##0.0">
                <c:v>99</c:v>
              </c:pt>
              <c:pt idx="21" formatCode="#,##0.0">
                <c:v>99</c:v>
              </c:pt>
              <c:pt idx="22" formatCode="#,##0.0">
                <c:v>99</c:v>
              </c:pt>
              <c:pt idx="23" formatCode="#,##0.0">
                <c:v>99</c:v>
              </c:pt>
              <c:pt idx="24" formatCode="#,##0.0">
                <c:v>99</c:v>
              </c:pt>
              <c:pt idx="25" formatCode="#,##0.0">
                <c:v>99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2FB8-4412-A989-2C356FBCA3E6}"/>
            </c:ext>
          </c:extLst>
        </c:ser>
        <c:ser>
          <c:idx val="2"/>
          <c:order val="2"/>
          <c:tx>
            <c:v>Meta (f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100</c:v>
              </c:pt>
              <c:pt idx="8" formatCode="#,##0.0">
                <c:v>100</c:v>
              </c:pt>
              <c:pt idx="9" formatCode="#,##0.0">
                <c:v>100</c:v>
              </c:pt>
              <c:pt idx="10" formatCode="#,##0.0">
                <c:v>100</c:v>
              </c:pt>
              <c:pt idx="11" formatCode="#,##0.0">
                <c:v>100</c:v>
              </c:pt>
              <c:pt idx="12" formatCode="#,##0.0">
                <c:v>100</c:v>
              </c:pt>
              <c:pt idx="13" formatCode="#,##0.0">
                <c:v>100</c:v>
              </c:pt>
              <c:pt idx="14" formatCode="#,##0.0">
                <c:v>100</c:v>
              </c:pt>
              <c:pt idx="15" formatCode="#,##0.0">
                <c:v>100</c:v>
              </c:pt>
              <c:pt idx="16" formatCode="#,##0.0">
                <c:v>100</c:v>
              </c:pt>
              <c:pt idx="17" formatCode="#,##0.0">
                <c:v>100</c:v>
              </c:pt>
              <c:pt idx="18" formatCode="#,##0.0">
                <c:v>100</c:v>
              </c:pt>
              <c:pt idx="19" formatCode="#,##0.0">
                <c:v>100</c:v>
              </c:pt>
              <c:pt idx="20" formatCode="#,##0.0">
                <c:v>100</c:v>
              </c:pt>
              <c:pt idx="21" formatCode="#,##0.0">
                <c:v>100</c:v>
              </c:pt>
              <c:pt idx="22" formatCode="#,##0.0">
                <c:v>100</c:v>
              </c:pt>
              <c:pt idx="23" formatCode="#,##0.0">
                <c:v>100</c:v>
              </c:pt>
              <c:pt idx="24" formatCode="#,##0.0">
                <c:v>100</c:v>
              </c:pt>
              <c:pt idx="25" formatCode="#,##0.0">
                <c:v>10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2-2FB8-4412-A989-2C356FBCA3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3222719"/>
        <c:axId val="1523236863"/>
      </c:lineChart>
      <c:catAx>
        <c:axId val="152322271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36863"/>
        <c:crosses val="autoZero"/>
        <c:auto val="1"/>
        <c:lblAlgn val="ctr"/>
        <c:lblOffset val="100"/>
        <c:noMultiLvlLbl val="0"/>
        <c:extLst/>
      </c:catAx>
      <c:valAx>
        <c:axId val="1523236863"/>
        <c:scaling>
          <c:orientation val="minMax"/>
          <c:max val="100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Resultado (%)</a:t>
                </a:r>
              </a:p>
            </c:rich>
          </c:tx>
          <c:layout>
            <c:manualLayout>
              <c:xMode val="edge"/>
              <c:yMode val="edge"/>
              <c:x val="5.3084260731319555E-2"/>
              <c:y val="0.332239268483169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22719"/>
        <c:crosses val="autoZero"/>
        <c:crossBetween val="between"/>
        <c:extLst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36557214926832"/>
          <c:y val="0.93110989584860804"/>
          <c:w val="0.34245884606236621"/>
          <c:h val="5.2817258063840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Indicadores e Metas do PL Exploracao.xlsx]PivotChartTable11</c:name>
    <c:fmtId val="22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pt-BR" sz="1800" b="1"/>
              <a:t>Índice de atendimento de esgoto</a:t>
            </a:r>
          </a:p>
        </c:rich>
      </c:tx>
      <c:layout>
        <c:manualLayout>
          <c:xMode val="edge"/>
          <c:yMode val="edge"/>
          <c:x val="0.38597122037334575"/>
          <c:y val="4.93850636279793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ivotFmts>
      <c:pivotFmt>
        <c:idx val="0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Base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00206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spPr>
          <a:solidFill>
            <a:schemeClr val="accent1"/>
          </a:solidFill>
          <a:ln w="28575" cap="rnd">
            <a:solidFill>
              <a:schemeClr val="tx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3441407856951415"/>
          <c:y val="0.13970472078549881"/>
          <c:w val="0.86164420772387151"/>
          <c:h val="0.54888949296033596"/>
        </c:manualLayout>
      </c:layout>
      <c:lineChart>
        <c:grouping val="standard"/>
        <c:varyColors val="0"/>
        <c:ser>
          <c:idx val="0"/>
          <c:order val="0"/>
          <c:tx>
            <c:v>Resultado (n)</c:v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#,##0.0</c:formatCode>
              <c:ptCount val="26"/>
              <c:pt idx="0">
                <c:v>82.11</c:v>
              </c:pt>
              <c:pt idx="1">
                <c:v>84.51</c:v>
              </c:pt>
              <c:pt idx="2">
                <c:v>85.2</c:v>
              </c:pt>
              <c:pt idx="3">
                <c:v>85.1</c:v>
              </c:pt>
              <c:pt idx="4">
                <c:v>89.28</c:v>
              </c:pt>
              <c:pt idx="5">
                <c:v>89.48</c:v>
              </c:pt>
              <c:pt idx="6">
                <c:v>90.91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AB87-44A9-8ABF-926DADB2116D}"/>
            </c:ext>
          </c:extLst>
        </c:ser>
        <c:ser>
          <c:idx val="1"/>
          <c:order val="1"/>
          <c:tx>
            <c:v>Meta (i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90.3</c:v>
              </c:pt>
              <c:pt idx="8" formatCode="#,##0.0">
                <c:v>91.7</c:v>
              </c:pt>
              <c:pt idx="9" formatCode="#,##0.0">
                <c:v>91.7</c:v>
              </c:pt>
              <c:pt idx="10" formatCode="#,##0.0">
                <c:v>91.7</c:v>
              </c:pt>
              <c:pt idx="11" formatCode="#,##0.0">
                <c:v>91.9</c:v>
              </c:pt>
              <c:pt idx="12" formatCode="#,##0.0">
                <c:v>92.2</c:v>
              </c:pt>
              <c:pt idx="13" formatCode="#,##0.0">
                <c:v>92.4</c:v>
              </c:pt>
              <c:pt idx="14" formatCode="#,##0.0">
                <c:v>92.6</c:v>
              </c:pt>
              <c:pt idx="15" formatCode="#,##0.0">
                <c:v>92.8</c:v>
              </c:pt>
              <c:pt idx="16" formatCode="#,##0.0">
                <c:v>93</c:v>
              </c:pt>
              <c:pt idx="17" formatCode="#,##0.0">
                <c:v>93</c:v>
              </c:pt>
              <c:pt idx="18" formatCode="#,##0.0">
                <c:v>93</c:v>
              </c:pt>
              <c:pt idx="19" formatCode="#,##0.0">
                <c:v>93</c:v>
              </c:pt>
              <c:pt idx="20" formatCode="#,##0.0">
                <c:v>93</c:v>
              </c:pt>
              <c:pt idx="21" formatCode="#,##0.0">
                <c:v>93</c:v>
              </c:pt>
              <c:pt idx="22" formatCode="#,##0.0">
                <c:v>93</c:v>
              </c:pt>
              <c:pt idx="23" formatCode="#,##0.0">
                <c:v>93</c:v>
              </c:pt>
              <c:pt idx="24" formatCode="#,##0.0">
                <c:v>93</c:v>
              </c:pt>
              <c:pt idx="25" formatCode="#,##0.0">
                <c:v>93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1-AB87-44A9-8ABF-926DADB2116D}"/>
            </c:ext>
          </c:extLst>
        </c:ser>
        <c:ser>
          <c:idx val="2"/>
          <c:order val="2"/>
          <c:tx>
            <c:v>Meta (f)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Lit>
              <c:ptCount val="26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  <c:pt idx="7">
                <c:v>2021</c:v>
              </c:pt>
              <c:pt idx="8">
                <c:v>2022</c:v>
              </c:pt>
              <c:pt idx="9">
                <c:v>2023</c:v>
              </c:pt>
              <c:pt idx="10">
                <c:v>2024</c:v>
              </c:pt>
              <c:pt idx="11">
                <c:v>2025</c:v>
              </c:pt>
              <c:pt idx="12">
                <c:v>2026</c:v>
              </c:pt>
              <c:pt idx="13">
                <c:v>2027</c:v>
              </c:pt>
              <c:pt idx="14">
                <c:v>2028</c:v>
              </c:pt>
              <c:pt idx="15">
                <c:v>2029</c:v>
              </c:pt>
              <c:pt idx="16">
                <c:v>2030</c:v>
              </c:pt>
              <c:pt idx="17">
                <c:v>2031</c:v>
              </c:pt>
              <c:pt idx="18">
                <c:v>2032</c:v>
              </c:pt>
              <c:pt idx="19">
                <c:v>2033</c:v>
              </c:pt>
              <c:pt idx="20">
                <c:v>2034</c:v>
              </c:pt>
              <c:pt idx="21">
                <c:v>2035</c:v>
              </c:pt>
              <c:pt idx="22">
                <c:v>2036</c:v>
              </c:pt>
              <c:pt idx="23">
                <c:v>2037</c:v>
              </c:pt>
              <c:pt idx="24">
                <c:v>2038</c:v>
              </c:pt>
              <c:pt idx="25">
                <c:v>2039</c:v>
              </c:pt>
            </c:strLit>
          </c:cat>
          <c:val>
            <c:numLit>
              <c:formatCode>General</c:formatCode>
              <c:ptCount val="26"/>
              <c:pt idx="7" formatCode="#,##0.0">
                <c:v>100</c:v>
              </c:pt>
              <c:pt idx="8" formatCode="#,##0.0">
                <c:v>100</c:v>
              </c:pt>
              <c:pt idx="9" formatCode="#,##0.0">
                <c:v>100</c:v>
              </c:pt>
              <c:pt idx="10" formatCode="#,##0.0">
                <c:v>100</c:v>
              </c:pt>
              <c:pt idx="11" formatCode="#,##0.0">
                <c:v>100</c:v>
              </c:pt>
              <c:pt idx="12" formatCode="#,##0.0">
                <c:v>100</c:v>
              </c:pt>
              <c:pt idx="13" formatCode="#,##0.0">
                <c:v>100</c:v>
              </c:pt>
              <c:pt idx="14" formatCode="#,##0.0">
                <c:v>100</c:v>
              </c:pt>
              <c:pt idx="15" formatCode="#,##0.0">
                <c:v>100</c:v>
              </c:pt>
              <c:pt idx="16" formatCode="#,##0.0">
                <c:v>100</c:v>
              </c:pt>
              <c:pt idx="17" formatCode="#,##0.0">
                <c:v>100</c:v>
              </c:pt>
              <c:pt idx="18" formatCode="#,##0.0">
                <c:v>100</c:v>
              </c:pt>
              <c:pt idx="19" formatCode="#,##0.0">
                <c:v>100</c:v>
              </c:pt>
              <c:pt idx="20" formatCode="#,##0.0">
                <c:v>100</c:v>
              </c:pt>
              <c:pt idx="21" formatCode="#,##0.0">
                <c:v>100</c:v>
              </c:pt>
              <c:pt idx="22" formatCode="#,##0.0">
                <c:v>100</c:v>
              </c:pt>
              <c:pt idx="23" formatCode="#,##0.0">
                <c:v>100</c:v>
              </c:pt>
              <c:pt idx="24" formatCode="#,##0.0">
                <c:v>100</c:v>
              </c:pt>
              <c:pt idx="25" formatCode="#,##0.0">
                <c:v>10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2-AB87-44A9-8ABF-926DADB211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23222719"/>
        <c:axId val="1523236863"/>
      </c:lineChart>
      <c:catAx>
        <c:axId val="152322271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An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36863"/>
        <c:crosses val="autoZero"/>
        <c:auto val="1"/>
        <c:lblAlgn val="ctr"/>
        <c:lblOffset val="100"/>
        <c:noMultiLvlLbl val="0"/>
        <c:extLst/>
      </c:catAx>
      <c:valAx>
        <c:axId val="1523236863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Resultado (%)</a:t>
                </a:r>
              </a:p>
            </c:rich>
          </c:tx>
          <c:layout>
            <c:manualLayout>
              <c:xMode val="edge"/>
              <c:yMode val="edge"/>
              <c:x val="4.3888853423977622E-2"/>
              <c:y val="0.2665115851511132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23222719"/>
        <c:crosses val="autoZero"/>
        <c:crossBetween val="between"/>
        <c:extLst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879085904717061"/>
          <c:y val="0.92172022680117138"/>
          <c:w val="0.34245884606236621"/>
          <c:h val="5.2817258063840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7295711869966"/>
          <c:y val="6.5479366665266728E-2"/>
          <c:w val="0.87711099254708902"/>
          <c:h val="0.409304176180760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-GRAF RESUMO'!$AA$18</c:f>
              <c:strCache>
                <c:ptCount val="1"/>
                <c:pt idx="0">
                  <c:v>População 2020 (hab.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A-GRAF RESUMO'!$U$19:$V$49</c:f>
              <c:multiLvlStrCache>
                <c:ptCount val="31"/>
                <c:lvl>
                  <c:pt idx="0">
                    <c:v>Cruzeiro</c:v>
                  </c:pt>
                  <c:pt idx="1">
                    <c:v>Guará</c:v>
                  </c:pt>
                  <c:pt idx="2">
                    <c:v>Lago Sul</c:v>
                  </c:pt>
                  <c:pt idx="3">
                    <c:v>Plano Piloto</c:v>
                  </c:pt>
                  <c:pt idx="4">
                    <c:v>SCIA/Estrutural</c:v>
                  </c:pt>
                  <c:pt idx="5">
                    <c:v>SIA</c:v>
                  </c:pt>
                  <c:pt idx="6">
                    <c:v>Sudoeste/Octogonal</c:v>
                  </c:pt>
                  <c:pt idx="7">
                    <c:v>Vicente Pires</c:v>
                  </c:pt>
                  <c:pt idx="8">
                    <c:v>Águas Claras</c:v>
                  </c:pt>
                  <c:pt idx="9">
                    <c:v>Candangolândia</c:v>
                  </c:pt>
                  <c:pt idx="10">
                    <c:v>Ceilândia</c:v>
                  </c:pt>
                  <c:pt idx="11">
                    <c:v>Gama</c:v>
                  </c:pt>
                  <c:pt idx="12">
                    <c:v>Núcleo Bandeirante</c:v>
                  </c:pt>
                  <c:pt idx="13">
                    <c:v>Park Way</c:v>
                  </c:pt>
                  <c:pt idx="14">
                    <c:v>Recanto das Emas</c:v>
                  </c:pt>
                  <c:pt idx="15">
                    <c:v>Riacho Fundo</c:v>
                  </c:pt>
                  <c:pt idx="16">
                    <c:v>Riacho Fundo II</c:v>
                  </c:pt>
                  <c:pt idx="17">
                    <c:v>Samambaia</c:v>
                  </c:pt>
                  <c:pt idx="18">
                    <c:v>Santa Maria</c:v>
                  </c:pt>
                  <c:pt idx="19">
                    <c:v>Taguatinga</c:v>
                  </c:pt>
                  <c:pt idx="20">
                    <c:v>Fercal</c:v>
                  </c:pt>
                  <c:pt idx="21">
                    <c:v>Planaltina</c:v>
                  </c:pt>
                  <c:pt idx="22">
                    <c:v>Sobradinho</c:v>
                  </c:pt>
                  <c:pt idx="23">
                    <c:v>Sobradinho II</c:v>
                  </c:pt>
                  <c:pt idx="24">
                    <c:v>Itapoã</c:v>
                  </c:pt>
                  <c:pt idx="25">
                    <c:v>Lago Norte</c:v>
                  </c:pt>
                  <c:pt idx="26">
                    <c:v>Paranoá</c:v>
                  </c:pt>
                  <c:pt idx="27">
                    <c:v>Varjão</c:v>
                  </c:pt>
                  <c:pt idx="28">
                    <c:v>São Sebastião</c:v>
                  </c:pt>
                  <c:pt idx="29">
                    <c:v>Jardim Botânico</c:v>
                  </c:pt>
                  <c:pt idx="30">
                    <c:v>Brazlândia</c:v>
                  </c:pt>
                </c:lvl>
                <c:lvl>
                  <c:pt idx="0">
                    <c:v>Torto-Santa Maria</c:v>
                  </c:pt>
                  <c:pt idx="8">
                    <c:v>Descoberto-Corumbá</c:v>
                  </c:pt>
                  <c:pt idx="20">
                    <c:v>Sobradinho-Planaltina</c:v>
                  </c:pt>
                  <c:pt idx="24">
                    <c:v>Paranoá Norte</c:v>
                  </c:pt>
                  <c:pt idx="28">
                    <c:v>Paranoá Sul</c:v>
                  </c:pt>
                  <c:pt idx="30">
                    <c:v>Braz</c:v>
                  </c:pt>
                </c:lvl>
              </c:multiLvlStrCache>
            </c:multiLvlStrRef>
          </c:cat>
          <c:val>
            <c:numRef>
              <c:f>'A-GRAF RESUMO'!$AA$19:$AA$49</c:f>
              <c:numCache>
                <c:formatCode>#,##0</c:formatCode>
                <c:ptCount val="31"/>
                <c:pt idx="0">
                  <c:v>32339</c:v>
                </c:pt>
                <c:pt idx="1">
                  <c:v>122031</c:v>
                </c:pt>
                <c:pt idx="2">
                  <c:v>29920</c:v>
                </c:pt>
                <c:pt idx="3">
                  <c:v>227513</c:v>
                </c:pt>
                <c:pt idx="4">
                  <c:v>42766</c:v>
                </c:pt>
                <c:pt idx="5">
                  <c:v>1177</c:v>
                </c:pt>
                <c:pt idx="6">
                  <c:v>60589</c:v>
                </c:pt>
                <c:pt idx="7">
                  <c:v>89692</c:v>
                </c:pt>
                <c:pt idx="8">
                  <c:v>153233</c:v>
                </c:pt>
                <c:pt idx="9">
                  <c:v>18143</c:v>
                </c:pt>
                <c:pt idx="10">
                  <c:v>502244</c:v>
                </c:pt>
                <c:pt idx="11">
                  <c:v>145733</c:v>
                </c:pt>
                <c:pt idx="12">
                  <c:v>26824</c:v>
                </c:pt>
                <c:pt idx="13">
                  <c:v>21443</c:v>
                </c:pt>
                <c:pt idx="14">
                  <c:v>140368</c:v>
                </c:pt>
                <c:pt idx="15">
                  <c:v>40906</c:v>
                </c:pt>
                <c:pt idx="16">
                  <c:v>41265</c:v>
                </c:pt>
                <c:pt idx="17">
                  <c:v>254873</c:v>
                </c:pt>
                <c:pt idx="18">
                  <c:v>130837</c:v>
                </c:pt>
                <c:pt idx="19">
                  <c:v>240942</c:v>
                </c:pt>
                <c:pt idx="20">
                  <c:v>7908</c:v>
                </c:pt>
                <c:pt idx="21">
                  <c:v>229154</c:v>
                </c:pt>
                <c:pt idx="22">
                  <c:v>70382</c:v>
                </c:pt>
                <c:pt idx="23">
                  <c:v>105167</c:v>
                </c:pt>
                <c:pt idx="24">
                  <c:v>77311</c:v>
                </c:pt>
                <c:pt idx="25">
                  <c:v>34287</c:v>
                </c:pt>
                <c:pt idx="26">
                  <c:v>59683</c:v>
                </c:pt>
                <c:pt idx="27">
                  <c:v>9522</c:v>
                </c:pt>
                <c:pt idx="28">
                  <c:v>143754</c:v>
                </c:pt>
                <c:pt idx="29">
                  <c:v>32280</c:v>
                </c:pt>
                <c:pt idx="30">
                  <c:v>51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8B-45BA-846D-E61430043B0B}"/>
            </c:ext>
          </c:extLst>
        </c:ser>
        <c:ser>
          <c:idx val="2"/>
          <c:order val="1"/>
          <c:tx>
            <c:strRef>
              <c:f>'A-GRAF RESUMO'!$AC$18</c:f>
              <c:strCache>
                <c:ptCount val="1"/>
                <c:pt idx="0">
                  <c:v>Incremento População (hab.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A-GRAF RESUMO'!$U$19:$V$49</c:f>
              <c:multiLvlStrCache>
                <c:ptCount val="31"/>
                <c:lvl>
                  <c:pt idx="0">
                    <c:v>Cruzeiro</c:v>
                  </c:pt>
                  <c:pt idx="1">
                    <c:v>Guará</c:v>
                  </c:pt>
                  <c:pt idx="2">
                    <c:v>Lago Sul</c:v>
                  </c:pt>
                  <c:pt idx="3">
                    <c:v>Plano Piloto</c:v>
                  </c:pt>
                  <c:pt idx="4">
                    <c:v>SCIA/Estrutural</c:v>
                  </c:pt>
                  <c:pt idx="5">
                    <c:v>SIA</c:v>
                  </c:pt>
                  <c:pt idx="6">
                    <c:v>Sudoeste/Octogonal</c:v>
                  </c:pt>
                  <c:pt idx="7">
                    <c:v>Vicente Pires</c:v>
                  </c:pt>
                  <c:pt idx="8">
                    <c:v>Águas Claras</c:v>
                  </c:pt>
                  <c:pt idx="9">
                    <c:v>Candangolândia</c:v>
                  </c:pt>
                  <c:pt idx="10">
                    <c:v>Ceilândia</c:v>
                  </c:pt>
                  <c:pt idx="11">
                    <c:v>Gama</c:v>
                  </c:pt>
                  <c:pt idx="12">
                    <c:v>Núcleo Bandeirante</c:v>
                  </c:pt>
                  <c:pt idx="13">
                    <c:v>Park Way</c:v>
                  </c:pt>
                  <c:pt idx="14">
                    <c:v>Recanto das Emas</c:v>
                  </c:pt>
                  <c:pt idx="15">
                    <c:v>Riacho Fundo</c:v>
                  </c:pt>
                  <c:pt idx="16">
                    <c:v>Riacho Fundo II</c:v>
                  </c:pt>
                  <c:pt idx="17">
                    <c:v>Samambaia</c:v>
                  </c:pt>
                  <c:pt idx="18">
                    <c:v>Santa Maria</c:v>
                  </c:pt>
                  <c:pt idx="19">
                    <c:v>Taguatinga</c:v>
                  </c:pt>
                  <c:pt idx="20">
                    <c:v>Fercal</c:v>
                  </c:pt>
                  <c:pt idx="21">
                    <c:v>Planaltina</c:v>
                  </c:pt>
                  <c:pt idx="22">
                    <c:v>Sobradinho</c:v>
                  </c:pt>
                  <c:pt idx="23">
                    <c:v>Sobradinho II</c:v>
                  </c:pt>
                  <c:pt idx="24">
                    <c:v>Itapoã</c:v>
                  </c:pt>
                  <c:pt idx="25">
                    <c:v>Lago Norte</c:v>
                  </c:pt>
                  <c:pt idx="26">
                    <c:v>Paranoá</c:v>
                  </c:pt>
                  <c:pt idx="27">
                    <c:v>Varjão</c:v>
                  </c:pt>
                  <c:pt idx="28">
                    <c:v>São Sebastião</c:v>
                  </c:pt>
                  <c:pt idx="29">
                    <c:v>Jardim Botânico</c:v>
                  </c:pt>
                  <c:pt idx="30">
                    <c:v>Brazlândia</c:v>
                  </c:pt>
                </c:lvl>
                <c:lvl>
                  <c:pt idx="0">
                    <c:v>Torto-Santa Maria</c:v>
                  </c:pt>
                  <c:pt idx="8">
                    <c:v>Descoberto-Corumbá</c:v>
                  </c:pt>
                  <c:pt idx="20">
                    <c:v>Sobradinho-Planaltina</c:v>
                  </c:pt>
                  <c:pt idx="24">
                    <c:v>Paranoá Norte</c:v>
                  </c:pt>
                  <c:pt idx="28">
                    <c:v>Paranoá Sul</c:v>
                  </c:pt>
                  <c:pt idx="30">
                    <c:v>Braz</c:v>
                  </c:pt>
                </c:lvl>
              </c:multiLvlStrCache>
            </c:multiLvlStrRef>
          </c:cat>
          <c:val>
            <c:numRef>
              <c:f>'A-GRAF RESUMO'!$AC$19:$AC$49</c:f>
              <c:numCache>
                <c:formatCode>#,##0</c:formatCode>
                <c:ptCount val="31"/>
                <c:pt idx="0">
                  <c:v>-4098</c:v>
                </c:pt>
                <c:pt idx="1">
                  <c:v>257</c:v>
                </c:pt>
                <c:pt idx="2">
                  <c:v>-4582</c:v>
                </c:pt>
                <c:pt idx="3">
                  <c:v>-8775</c:v>
                </c:pt>
                <c:pt idx="4">
                  <c:v>18931</c:v>
                </c:pt>
                <c:pt idx="5">
                  <c:v>-911</c:v>
                </c:pt>
                <c:pt idx="6">
                  <c:v>9818</c:v>
                </c:pt>
                <c:pt idx="7">
                  <c:v>41144</c:v>
                </c:pt>
                <c:pt idx="8">
                  <c:v>93254</c:v>
                </c:pt>
                <c:pt idx="9">
                  <c:v>647</c:v>
                </c:pt>
                <c:pt idx="10">
                  <c:v>129674</c:v>
                </c:pt>
                <c:pt idx="11">
                  <c:v>8218</c:v>
                </c:pt>
                <c:pt idx="12">
                  <c:v>2196</c:v>
                </c:pt>
                <c:pt idx="13">
                  <c:v>2152</c:v>
                </c:pt>
                <c:pt idx="14">
                  <c:v>7916</c:v>
                </c:pt>
                <c:pt idx="15">
                  <c:v>4312</c:v>
                </c:pt>
                <c:pt idx="16">
                  <c:v>2327</c:v>
                </c:pt>
                <c:pt idx="17">
                  <c:v>72738</c:v>
                </c:pt>
                <c:pt idx="18">
                  <c:v>7378</c:v>
                </c:pt>
                <c:pt idx="19">
                  <c:v>38455</c:v>
                </c:pt>
                <c:pt idx="20">
                  <c:v>-390</c:v>
                </c:pt>
                <c:pt idx="21">
                  <c:v>135056</c:v>
                </c:pt>
                <c:pt idx="22">
                  <c:v>12336</c:v>
                </c:pt>
                <c:pt idx="23">
                  <c:v>12657</c:v>
                </c:pt>
                <c:pt idx="24">
                  <c:v>56317</c:v>
                </c:pt>
                <c:pt idx="25">
                  <c:v>-3380</c:v>
                </c:pt>
                <c:pt idx="26">
                  <c:v>40916</c:v>
                </c:pt>
                <c:pt idx="27">
                  <c:v>-375</c:v>
                </c:pt>
                <c:pt idx="28">
                  <c:v>192320</c:v>
                </c:pt>
                <c:pt idx="29">
                  <c:v>16186</c:v>
                </c:pt>
                <c:pt idx="30">
                  <c:v>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8B-45BA-846D-E61430043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54007567"/>
        <c:axId val="1254014639"/>
      </c:barChart>
      <c:catAx>
        <c:axId val="125400756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Região Administrativ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54014639"/>
        <c:crosses val="autoZero"/>
        <c:auto val="1"/>
        <c:lblAlgn val="ctr"/>
        <c:lblOffset val="100"/>
        <c:noMultiLvlLbl val="0"/>
      </c:catAx>
      <c:valAx>
        <c:axId val="12540146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 dirty="0"/>
                  <a:t>População (hab.)</a:t>
                </a:r>
              </a:p>
            </c:rich>
          </c:tx>
          <c:layout>
            <c:manualLayout>
              <c:xMode val="edge"/>
              <c:yMode val="edge"/>
              <c:x val="7.931716853438785E-3"/>
              <c:y val="6.149100085499994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540075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43832645176191"/>
          <c:y val="0.12358389400199681"/>
          <c:w val="0.80843864790385145"/>
          <c:h val="0.53527999560426553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'GRAF RESUMO'!$F$9</c:f>
              <c:strCache>
                <c:ptCount val="1"/>
                <c:pt idx="0">
                  <c:v>Saldo 2020 (L/s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F$10:$F$16</c:f>
              <c:numCache>
                <c:formatCode>_(* #,##0.00_);_(* \(#,##0.00\);_(* "-"??_);_(@_)</c:formatCode>
                <c:ptCount val="7"/>
                <c:pt idx="0">
                  <c:v>571.78772238679085</c:v>
                </c:pt>
                <c:pt idx="1">
                  <c:v>113.75571410539123</c:v>
                </c:pt>
                <c:pt idx="2">
                  <c:v>-84.28890946013712</c:v>
                </c:pt>
                <c:pt idx="3">
                  <c:v>112.89879292422108</c:v>
                </c:pt>
                <c:pt idx="4">
                  <c:v>-82.103244930202322</c:v>
                </c:pt>
                <c:pt idx="5">
                  <c:v>4.7831461393541872</c:v>
                </c:pt>
                <c:pt idx="6">
                  <c:v>636.83322116541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48-433D-BB8A-4616FD883F6A}"/>
            </c:ext>
          </c:extLst>
        </c:ser>
        <c:ser>
          <c:idx val="1"/>
          <c:order val="0"/>
          <c:tx>
            <c:strRef>
              <c:f>'GRAF RESUMO'!$J$9</c:f>
              <c:strCache>
                <c:ptCount val="1"/>
                <c:pt idx="0">
                  <c:v>Saldo 2039 (L/s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'GRAF RESUMO'!$C$10:$C$16</c:f>
              <c:strCache>
                <c:ptCount val="7"/>
                <c:pt idx="0">
                  <c:v>Torto-Santa Maria-Bananal</c:v>
                </c:pt>
                <c:pt idx="1">
                  <c:v>Descoberto-Corumbá</c:v>
                </c:pt>
                <c:pt idx="2">
                  <c:v>Sobradinho-Planaltina</c:v>
                </c:pt>
                <c:pt idx="3">
                  <c:v>Paranoá Norte</c:v>
                </c:pt>
                <c:pt idx="4">
                  <c:v>Paranoá Sul</c:v>
                </c:pt>
                <c:pt idx="5">
                  <c:v>Brazlândia</c:v>
                </c:pt>
                <c:pt idx="6">
                  <c:v>Distrito Federal</c:v>
                </c:pt>
              </c:strCache>
            </c:strRef>
          </c:cat>
          <c:val>
            <c:numRef>
              <c:f>'GRAF RESUMO'!$J$10:$J$16</c:f>
              <c:numCache>
                <c:formatCode>_(* #,##0.00_);_(* \(#,##0.00\);_(* "-"??_);_(@_)</c:formatCode>
                <c:ptCount val="7"/>
                <c:pt idx="0">
                  <c:v>440.83609470381657</c:v>
                </c:pt>
                <c:pt idx="1">
                  <c:v>802.72989095204866</c:v>
                </c:pt>
                <c:pt idx="2">
                  <c:v>274.1202891938201</c:v>
                </c:pt>
                <c:pt idx="3">
                  <c:v>128.14782122330382</c:v>
                </c:pt>
                <c:pt idx="4">
                  <c:v>77.942848718512323</c:v>
                </c:pt>
                <c:pt idx="5">
                  <c:v>18.952559420812065</c:v>
                </c:pt>
                <c:pt idx="6">
                  <c:v>1742.729504212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48-433D-BB8A-4616FD883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17806863"/>
        <c:axId val="717821423"/>
      </c:barChart>
      <c:catAx>
        <c:axId val="7178068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Sistema</a:t>
                </a:r>
              </a:p>
            </c:rich>
          </c:tx>
          <c:layout>
            <c:manualLayout>
              <c:xMode val="edge"/>
              <c:yMode val="edge"/>
              <c:x val="0.52778288564107845"/>
              <c:y val="0.9283164080339800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21423"/>
        <c:crosses val="autoZero"/>
        <c:auto val="1"/>
        <c:lblAlgn val="ctr"/>
        <c:lblOffset val="100"/>
        <c:noMultiLvlLbl val="0"/>
      </c:catAx>
      <c:valAx>
        <c:axId val="7178214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Vazão (L/s)</a:t>
                </a:r>
              </a:p>
            </c:rich>
          </c:tx>
          <c:layout>
            <c:manualLayout>
              <c:xMode val="edge"/>
              <c:yMode val="edge"/>
              <c:x val="3.0560793456109306E-2"/>
              <c:y val="0.327076509801384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17806863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>
      <a:outerShdw blurRad="63500" sx="102000" sy="102000" algn="ctr" rotWithShape="0">
        <a:prstClr val="black">
          <a:alpha val="40000"/>
        </a:prstClr>
      </a:outerShdw>
    </a:effectLst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E6C56-115E-48AD-B167-F940A5963CE4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F9B160-106B-4442-9001-E591B1239B6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2047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lano de Exploração de Serviços da Caesb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849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comparativo da demanda com a capacidade instalada no final do plano (2039) demonstra que o SAA possuirá capacidade instalada de 12.518 L/s e demanda de </a:t>
            </a:r>
          </a:p>
          <a:p>
            <a:r>
              <a:rPr lang="pt-BR" dirty="0"/>
              <a:t>10.775,87 L/s, com saldo de 1.742,73 L/s, o que representa índice de comprometimento da  capacidade instalada de 86%.</a:t>
            </a:r>
          </a:p>
          <a:p>
            <a:endParaRPr lang="pt-BR" dirty="0"/>
          </a:p>
          <a:p>
            <a:r>
              <a:rPr lang="pt-BR" dirty="0"/>
              <a:t>Dessa forma, esse índice passará dos atuais 93% para 86%, com queda de 7 pontos percentuais, representando maior segurança hídrica para o DF.</a:t>
            </a:r>
          </a:p>
          <a:p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7543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O </a:t>
            </a:r>
            <a:r>
              <a:rPr lang="pt-BR" sz="1200" dirty="0"/>
              <a:t>Índice de comprometimento da capacidade instalada - Icci (%)  para o DF passará de 93% para 86%, o que representa aumento da segurança hídric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/>
              <a:t>Em relação aos sistemas produtores, os sistemas que atualmente apresentam Icci acima de 100%, caso de Sobradinho e Paranoá Sul passarão a apresentar valores respectivamente de 84% e 94%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576311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95166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08257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7269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AGUIAR, Laís Alencar de, Metodologias de Análise de Riscos, Rio de Janeiro/RJ </a:t>
            </a:r>
          </a:p>
          <a:p>
            <a:r>
              <a:rPr lang="pt-BR" dirty="0"/>
              <a:t>(disponível na Internet em  http://professor.ucg.br/</a:t>
            </a:r>
            <a:r>
              <a:rPr lang="pt-BR" dirty="0" err="1"/>
              <a:t>SiteDocente</a:t>
            </a:r>
            <a:r>
              <a:rPr lang="pt-BR" dirty="0"/>
              <a:t>/admin/</a:t>
            </a:r>
            <a:r>
              <a:rPr lang="pt-BR" dirty="0" err="1"/>
              <a:t>arquivosUpload</a:t>
            </a:r>
            <a:r>
              <a:rPr lang="pt-BR" dirty="0"/>
              <a:t>/13179/material/APP_e_HAZOP.pdf) </a:t>
            </a:r>
          </a:p>
          <a:p>
            <a:endParaRPr lang="pt-BR" dirty="0"/>
          </a:p>
          <a:p>
            <a:r>
              <a:rPr lang="pt-BR" dirty="0"/>
              <a:t>o  diagnóstico  das  situações  de  riscos;  </a:t>
            </a:r>
          </a:p>
          <a:p>
            <a:r>
              <a:rPr lang="pt-BR" dirty="0"/>
              <a:t>os  cenários  prospectivos  das  consequências  da  ocorrência  de  acidentes; </a:t>
            </a:r>
          </a:p>
          <a:p>
            <a:r>
              <a:rPr lang="pt-BR" dirty="0"/>
              <a:t>indicação das medidas de resposta à emergência caracterizada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84139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01740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30419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81036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751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94741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13925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79212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999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98201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Regiões responsáveis pelo aumento populacional: 890.694 mil habitantes (28%) </a:t>
            </a:r>
          </a:p>
          <a:p>
            <a:endParaRPr lang="pt-BR" dirty="0"/>
          </a:p>
          <a:p>
            <a:r>
              <a:rPr lang="pt-BR" dirty="0"/>
              <a:t>RA	         População 2020 (L/s)	População 2039 (L/s)	Incremento População (L/s)	Per Incremento População(%)</a:t>
            </a:r>
          </a:p>
          <a:p>
            <a:r>
              <a:rPr lang="pt-BR" dirty="0"/>
              <a:t>São Sebastião                   143.754 	         336.074 	                                  192.320 	                                           6,1%</a:t>
            </a:r>
          </a:p>
          <a:p>
            <a:r>
              <a:rPr lang="pt-BR" dirty="0"/>
              <a:t>Planaltina	                   229.154 	         364.210 	                                  135.056 	                                           4,3%</a:t>
            </a:r>
          </a:p>
          <a:p>
            <a:r>
              <a:rPr lang="pt-BR" dirty="0"/>
              <a:t>Ceilândia	                   502.244 	         631.918 	                                  129.674 	                                           4,1%</a:t>
            </a:r>
          </a:p>
          <a:p>
            <a:r>
              <a:rPr lang="pt-BR" dirty="0"/>
              <a:t>Águas Claras	                   153.233 	         246.487 	                                  93.254 	                                           3,0%</a:t>
            </a:r>
          </a:p>
          <a:p>
            <a:r>
              <a:rPr lang="pt-BR" dirty="0"/>
              <a:t>Samambaia	                    254.873 	         327.611 	                                  72.738 	                                           2,3%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61760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Todos os sistemas de abastecimento apresentarão saldo positivo em 2039, com capacidade instalada maior do que demanda projetada, com destaque</a:t>
            </a:r>
          </a:p>
          <a:p>
            <a:r>
              <a:rPr lang="pt-BR" dirty="0"/>
              <a:t>Para o sistema Descoberto-Corumbá, com saldo de 802,73 L/s e Torto-Santa Maria com 440,84 L/s.</a:t>
            </a:r>
          </a:p>
          <a:p>
            <a:endParaRPr lang="pt-BR" dirty="0"/>
          </a:p>
          <a:p>
            <a:r>
              <a:rPr lang="pt-BR" dirty="0"/>
              <a:t>O saldo da demanda x capacidade instalada do DF passará de 636,83 L/s (2020) para 1.742,73 L/s (2039), com aumento de 1.105,9 L/s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39731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248878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01102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Torto-Santa Maria-Bananal: 8 RAs; Pop: 606 mil (19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Descoberto-Corumbá: 12 RAs; Pop: 1.716 mi (55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Sobradinho-Planaltina: 4 RAs; Pop: 412 mil (13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Paranoá Norte: 4 RAs; Pop: 180 mil (6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Paranoá Sul: 2 RAs; Pop: 176 mil (6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Brazlândia: 1 RA; Pop: 51 mil (2%)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23983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Torto-Santa Maria-Bananal: 8 RAs; Pop: 606 mil (19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Descoberto-Corumbá: 12 RAs; Pop: 1.716 mi (55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Sobradinho-Planaltina: 4 RAs; Pop: 412 mil (13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Paranoá Norte: 4 RAs; Pop: 180 mil (6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Paranoá Sul: 2 RAs; Pop: 176 mil (6%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1200" dirty="0"/>
              <a:t>Brazlândia: 1 RA; Pop: 51 mil (2%)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7592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04337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27809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Foram entregues várias versões, fruto de reuniões técnicas com a Caesb para consolidação da versão final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09638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47773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323791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 Portaria  nº  490  de  22  de  março  de  2021</a:t>
            </a:r>
          </a:p>
          <a:p>
            <a:endParaRPr lang="pt-BR" dirty="0"/>
          </a:p>
          <a:p>
            <a:r>
              <a:rPr lang="pt-BR" dirty="0"/>
              <a:t>39,2% (SNIS 2019),</a:t>
            </a:r>
          </a:p>
          <a:p>
            <a:r>
              <a:rPr lang="pt-BR" dirty="0"/>
              <a:t>consideram as mesmas proporções percentuais descritas na Portaria mas, ao </a:t>
            </a:r>
          </a:p>
          <a:p>
            <a:r>
              <a:rPr lang="pt-BR" dirty="0"/>
              <a:t>invés de utilizar como ponto de partida a média nacional (39,2%) foi utilizado o Índice de Perdas </a:t>
            </a:r>
          </a:p>
          <a:p>
            <a:r>
              <a:rPr lang="pt-BR" dirty="0"/>
              <a:t>atual da Companhia (~ 35%). </a:t>
            </a:r>
          </a:p>
          <a:p>
            <a:endParaRPr lang="pt-BR" dirty="0"/>
          </a:p>
          <a:p>
            <a:r>
              <a:rPr lang="pt-BR" dirty="0"/>
              <a:t>100% até 65%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03696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4358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034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202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Century Gothic" panose="020B0502020202020204" pitchFamily="34" charset="0"/>
              </a:rPr>
              <a:t>Oferta: Calculada uma </a:t>
            </a:r>
            <a:r>
              <a:rPr lang="pt-BR" b="1" dirty="0">
                <a:latin typeface="Century Gothic" panose="020B0502020202020204" pitchFamily="34" charset="0"/>
              </a:rPr>
              <a:t>vazão de operação</a:t>
            </a:r>
            <a:r>
              <a:rPr lang="pt-BR" dirty="0">
                <a:latin typeface="Century Gothic" panose="020B0502020202020204" pitchFamily="34" charset="0"/>
              </a:rPr>
              <a:t>, obtida a partir das </a:t>
            </a:r>
            <a:r>
              <a:rPr lang="pt-BR" b="1" dirty="0">
                <a:latin typeface="Century Gothic" panose="020B0502020202020204" pitchFamily="34" charset="0"/>
              </a:rPr>
              <a:t>vazões máximas outorgadas</a:t>
            </a:r>
            <a:r>
              <a:rPr lang="pt-BR" dirty="0">
                <a:latin typeface="Century Gothic" panose="020B0502020202020204" pitchFamily="34" charset="0"/>
              </a:rPr>
              <a:t> para o mês de </a:t>
            </a:r>
            <a:r>
              <a:rPr lang="pt-BR" b="1" dirty="0">
                <a:latin typeface="Century Gothic" panose="020B0502020202020204" pitchFamily="34" charset="0"/>
              </a:rPr>
              <a:t>setembro</a:t>
            </a:r>
            <a:endParaRPr lang="pt-BR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Century Gothic" panose="020B0502020202020204" pitchFamily="34" charset="0"/>
              </a:rPr>
              <a:t>Demanda: Utilizadas vazões de consumo do cenário possível do estudo do Plano Distrital de Saneamento Básico (PDSB);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28992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/>
              <a:t>População (2020): 3.1 mi; População (2039): 4 mi -&gt; incremento de 890 mil (28%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Descoberto-Corumbá: 369 mil, 11,7%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Paranoá Sul: 208 mil, 6,6%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Sobradinho-Planaltina: 159 mil; 5,1%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Paranoá Norte: 93 mil; 3%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Torto-Santa Maria-Bananal: 51 mil, 1,6%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pt-BR" sz="1200" dirty="0"/>
              <a:t>Brazlândia: 8 mil; 0,3%;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42058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comparativo da demanda com a capacidade instalada no cenário atual (2020) demonstra que atualmente o SAA possui capacidade instalada de 9.031,62 L/s e demanda de </a:t>
            </a:r>
          </a:p>
          <a:p>
            <a:r>
              <a:rPr lang="pt-BR" dirty="0"/>
              <a:t>8.394,79 L/s, com saldo de 636,83 L/s, o que representa índice de comprometimento da  capacidade instalada de 93%.</a:t>
            </a:r>
          </a:p>
          <a:p>
            <a:endParaRPr lang="pt-BR" dirty="0"/>
          </a:p>
          <a:p>
            <a:r>
              <a:rPr lang="pt-BR" dirty="0"/>
              <a:t>Os sistemas de Sobradinho-Planaltina e Paranoá Sul apresentam déficits, respectivamente de  -84,29 L/s e 82,10 L/s, o que significa que estes sistemas estão acima do limite da capacidade instalada com a existência de demanda reprimida, especialmente durante o período seco do ano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4063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D9D90B-396F-45BC-823C-38325EF8B8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E86E513-537D-430D-B407-BE23D4E113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226890-2C86-498C-BE94-42639E458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4E89FDA-69B9-4B8E-AD2E-864651D7A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176A411-97F6-434E-8A6E-3E9B334CA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9330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081A31-7108-47DA-87C9-0FDF0A169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F7A8B18-011B-4CDA-8A6B-737A4FF4D9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815958C-C5E7-40F9-85AD-5317EFD31B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F707A7A-E0AE-47E5-B75C-B01FFA2C9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35E14A8-D503-4209-ABAC-D2ED27CE6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247E37A-15F8-4683-AD6D-89B8871B9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6827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1F6AD3-7E47-4895-BA00-4ECD23899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D3D0EE1F-F849-4630-BC80-892796620E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7D8B5DC-59AC-46C3-AE42-F3FEDD39E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DA37F80-ED24-40CA-BC6E-01F4BA941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7CBF14A-8547-4169-BF45-E63E7B516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32F40E9-5902-4358-8879-852F2D5B3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2585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329BAD-8424-408D-ACB8-4A7929A5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92AE9E9-5456-4F44-BADD-099493091C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A33D84A-1E51-4022-BA4E-D5B439A2A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0E1507F-BEE3-4D76-BAB0-7E1044EE6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C994B53-E18A-4414-9665-850F9CE82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7345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E0D02E0-17AA-45AF-BD59-2F3B9FFB03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7808143D-D061-4CE9-87CB-BB404EB829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617C300-1FF7-44BA-A266-415F91467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ECAE3D2-394F-4708-BF76-CEF15FAD3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28A26D1-1E2E-48D9-82FB-C11040071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47498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504E32-87D7-453B-8D1F-37760F58C3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C00C86E-B96A-4BFC-A242-F95B31592A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E43B1CE-FDA0-43E6-87FC-445662AEE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C912B36-549A-493D-952E-04A412EE3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4889AAC-25E3-4C28-A56B-AA2E5CEFD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8672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182C88-0FFE-424B-B244-65D926E6A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5AFE856-0924-4B60-A3E8-2D92810F9A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28163E0-FBC0-44CF-B7FC-594E8DD3E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D0083A-54F7-4F04-8B67-F098AF236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A1FF8B0-7552-4CC1-8293-E41A32C1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3496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331F4E-8194-4272-9448-5ECDFF4E0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74947F-B9FB-449B-ACA4-6F4F32AD1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57E7A9C-8B0A-45CB-ABA2-BB5C38EF9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8F427B2-ACB5-4FB9-B94E-8CF847600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A09DD9F-7233-4A3C-8784-32E022B67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0306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633DC7-A6B6-42AB-9EBD-8687E0691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4AEDB09-69DF-49F3-9A7E-23EA06F041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7A7D80D-2DDB-4114-AD10-2A07CCBDB1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02E74E9-94A1-4FAF-AFC2-F198CA666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2D5D9B6-B52F-4A69-B7A4-4BAD8FA2AE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100B032-47F5-4C2E-9278-DC92EF2CD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0385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C9E2CE-A781-4877-A02D-DBE0BDA0B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924926E-6E10-46AE-8017-96EA79E5CE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AAABD65-A06E-41F9-B2D5-F45A8E4D97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4999B14A-1B29-4F1A-9079-3678022D22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568B048-86A8-4BBC-8A21-60F8F1037B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A8FB2AA4-036C-45DB-A996-D29BE3B46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53A6288-6F38-4BF3-856B-DB8986D92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93B4CAD-A6E6-47EC-A14F-AE9CFC3F8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48808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72A9D2D-F111-4C01-BE72-D0E751B2C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7CB263B-6933-4C0B-88D8-3DF8819FB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B891643-AE76-4A02-BBA5-53BCCB8D7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E5424A6-91A8-408F-AC5E-1CA4EC178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26900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63D8B8-C030-4E09-B393-840AE32FA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C62E683-4884-4CD1-9045-814C305C48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0311AC-18B2-4CB6-9E00-978FD0EAE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24DCDCE-BB78-4A4B-A8AA-87176DAF4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F9A699A-AC05-4E66-8130-3FDC10B47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15452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1470AE01-E4EC-4183-8BDC-F5AAB31C1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918E1E2D-A55B-48D8-BB46-BFFE41BE6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C728A02-38AB-4C3B-BCB9-2931AF54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140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88057A-CD8B-49E6-8E18-FC5556668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94E68C9-8BED-4723-9D0C-FF0AAB537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3F865F1-8166-4DAA-9A1E-501C98292C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1002CF0-5E14-4D1A-89A7-444D4EE72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3850A5A-CB7F-4566-83F1-E6CF5D83F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39FCE23-A3C2-4A13-A3A8-C4F93C111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53718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B610EA-4D35-4F59-9942-120D2B926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1DE4E90-5DCA-4B47-B3E5-8B95FC7771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F0B8779-8855-4313-8B46-EBFCA7579D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40C9522-589F-49B2-9799-8BBCB35BB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6A2FFB2-37F4-41D7-AFED-F5603A911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E93F830-1E3A-4FAD-B030-7F8B7779C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54915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CFF7772-5898-4A16-AB07-C80E48C84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BCDCF07-B556-4A08-B36F-A37E500307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C9B7B0D-210A-48EC-B11E-F7939F3B4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A97E776-70B3-4FEB-A535-6E3F5DB4A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8110F20-A5D8-471D-9D87-C11823556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77509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C91CE34-C01E-4AF6-820B-61DE5A1008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94516C3-2EFA-4CEF-A3DF-5EA2D633A3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526EA4-4C1B-4296-8036-9BA1FC307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2F6ACDF-57F9-4B77-8AB1-4A6B7EFC9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BD14FEC-A256-4739-8C22-56DA210F2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083537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37356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8950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9696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00156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3716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C736FAE-288F-45D0-A02F-F3609C80A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F64D5C9-7E24-44C7-8FB8-AFB59842A6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B5A55A3-08FB-4581-BE23-2E1777DDF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D8CAADE-F54A-424E-A792-BB7AD14CD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64A7463-2E7F-47B2-B5A8-0CDE920C3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72178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2763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155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10750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20962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573180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0745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622DE4-ADC7-45A5-A8B8-F98F26208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E991C88-E0BA-496B-9B9B-5D94828E50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EBD0932-5E93-45A9-B6CA-15D6A12C42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E5B57CE-441F-4BBE-95A7-1B8CEBBC9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386230F-DA7D-4A46-A52B-75E67931B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8648462-A20D-44AA-81D5-0F8783D88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3394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D701C79-4555-40F0-8040-8C38A90D2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C63C913-950D-4B7E-B150-682C3FBF3A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141DBEE-60D1-4FDB-906E-205DEF5F98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45300D4-4378-4F6B-A203-4F0A195D98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87586B55-8438-4929-B4EE-11D64C03C6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E473A3-6976-4582-BA72-09EB95260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DC39D6B6-4993-4876-A3E1-8567F9860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C410463-04EF-4895-9981-08CFC6247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849257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0556AB-4AC2-4BFC-927C-AC17A1853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4A1D3F4-D8AE-4DDC-9871-E11CE8D6A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864B7F1-C403-44D9-8C39-23F386AF0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CCE27C3-CC1E-4AAD-9040-9A8DEDCA12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03418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F27F2886-93D9-453C-B53C-377D0E442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DE6BFC55-6161-4BA8-B9E0-A5BDB6F9B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C880F4B-EB4D-4BEA-8856-3D8A2476A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4168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182C88-0FFE-424B-B244-65D926E6A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5AFE856-0924-4B60-A3E8-2D92810F9A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28163E0-FBC0-44CF-B7FC-594E8DD3E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D0083A-54F7-4F04-8B67-F098AF236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A1FF8B0-7552-4CC1-8293-E41A32C1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6708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182C88-0FFE-424B-B244-65D926E6A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5AFE856-0924-4B60-A3E8-2D92810F9A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28163E0-FBC0-44CF-B7FC-594E8DD3E4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D0083A-54F7-4F04-8B67-F098AF236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A1FF8B0-7552-4CC1-8293-E41A32C1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9656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gi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676E1354-FA38-4674-B6EF-944CB5005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73FB336-3988-4E5A-B3E1-5781F5AB22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7757EE4-EA99-430D-8CA5-E2CDECFDD8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36E8C-43A5-418A-A9C5-33FF4017A06D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AB4AA7D-B54D-4609-8AF9-A1BEE7A5BE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98B2D2E-62FE-4A6F-BB80-A222ABAEEA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877E8C-1E50-4B9D-A002-12080BF60D2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9685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73" r:id="rId8"/>
    <p:sldLayoutId id="2147483674" r:id="rId9"/>
    <p:sldLayoutId id="2147483656" r:id="rId10"/>
    <p:sldLayoutId id="2147483657" r:id="rId11"/>
    <p:sldLayoutId id="2147483658" r:id="rId12"/>
    <p:sldLayoutId id="214748365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alphaModFix amt="16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253D2BE-2258-4DCC-9D34-65AE24C69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944B9D7-A6E4-4A69-ACAA-D4ED395390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93A2860-E492-42CB-BE31-CEB01C05C6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FE855B-EE4C-4ABC-9A17-3A8FBAC79E5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310A684-06D4-4A3D-B945-B50B5ABEC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0E74348-A264-4912-A420-0598FE6C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E85CD1-FD21-4C16-BBAE-4DE63723E67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098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7000">
              <a:srgbClr val="010347"/>
            </a:gs>
            <a:gs pos="85000">
              <a:srgbClr val="010347"/>
            </a:gs>
            <a:gs pos="12000">
              <a:srgbClr val="010347">
                <a:alpha val="0"/>
              </a:srgbClr>
            </a:gs>
            <a:gs pos="0">
              <a:srgbClr val="010347">
                <a:alpha val="0"/>
              </a:srgbClr>
            </a:gs>
            <a:gs pos="18000">
              <a:srgbClr val="010347"/>
            </a:gs>
            <a:gs pos="100000">
              <a:srgbClr val="010347">
                <a:alpha val="0"/>
              </a:srgb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551D4-85BD-4CF7-8BAB-84B07489C90E}" type="datetimeFigureOut">
              <a:rPr lang="pt-BR" smtClean="0"/>
              <a:t>03/11/202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8FEDC-D838-4649-B37F-E41AF5B477EA}" type="slidenum">
              <a:rPr lang="pt-BR" smtClean="0"/>
              <a:t>‹nº›</a:t>
            </a:fld>
            <a:endParaRPr lang="pt-BR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787" y="1772816"/>
            <a:ext cx="4354016" cy="458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08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sv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3.jp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88FF4B-CB2D-4086-B66A-82690D5CDBC6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-44966" y="0"/>
            <a:ext cx="12236966" cy="6858001"/>
          </a:xfrm>
          <a:prstGeom prst="rect">
            <a:avLst/>
          </a:prstGeom>
        </p:spPr>
      </p:pic>
      <p:sp>
        <p:nvSpPr>
          <p:cNvPr id="4" name="CaixaDeTexto 1">
            <a:extLst>
              <a:ext uri="{FF2B5EF4-FFF2-40B4-BE49-F238E27FC236}">
                <a16:creationId xmlns:a16="http://schemas.microsoft.com/office/drawing/2014/main" id="{177EA31B-B84A-4616-AEFC-F9C9FD085C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2838" y="5762630"/>
            <a:ext cx="50308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t-BR" altLang="pt-BR" b="1" dirty="0">
                <a:solidFill>
                  <a:schemeClr val="bg1"/>
                </a:solidFill>
              </a:rPr>
              <a:t>Brasília, novembro de 2022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BAC3B03-C7DB-483D-9FFC-EBCB4C2E1C64}"/>
              </a:ext>
            </a:extLst>
          </p:cNvPr>
          <p:cNvSpPr txBox="1"/>
          <p:nvPr/>
        </p:nvSpPr>
        <p:spPr>
          <a:xfrm>
            <a:off x="734860" y="378746"/>
            <a:ext cx="108976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b="1" dirty="0">
                <a:solidFill>
                  <a:schemeClr val="bg1"/>
                </a:solidFill>
              </a:rPr>
              <a:t>Superintendência de </a:t>
            </a:r>
            <a:r>
              <a:rPr lang="pt-BR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bastecimento</a:t>
            </a:r>
            <a:r>
              <a:rPr lang="pt-BR" sz="3200" b="1" dirty="0">
                <a:solidFill>
                  <a:schemeClr val="bg1"/>
                </a:solidFill>
              </a:rPr>
              <a:t> de Água e Esgot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132B5CD-637C-49AD-956F-9037756FBBD6}"/>
              </a:ext>
            </a:extLst>
          </p:cNvPr>
          <p:cNvSpPr txBox="1"/>
          <p:nvPr/>
        </p:nvSpPr>
        <p:spPr>
          <a:xfrm>
            <a:off x="1218601" y="2524341"/>
            <a:ext cx="9459310" cy="1446550"/>
          </a:xfrm>
          <a:prstGeom prst="rect">
            <a:avLst/>
          </a:prstGeom>
          <a:solidFill>
            <a:srgbClr val="0088C2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4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nálise técnica do </a:t>
            </a:r>
          </a:p>
          <a:p>
            <a:pPr algn="ctr">
              <a:defRPr/>
            </a:pPr>
            <a:r>
              <a:rPr lang="pt-BR" sz="4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lano de Exploração</a:t>
            </a:r>
          </a:p>
        </p:txBody>
      </p:sp>
    </p:spTree>
    <p:extLst>
      <p:ext uri="{BB962C8B-B14F-4D97-AF65-F5344CB8AC3E}">
        <p14:creationId xmlns:p14="http://schemas.microsoft.com/office/powerpoint/2010/main" val="1965593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215900" y="209618"/>
            <a:ext cx="11760199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sz="3000" dirty="0"/>
              <a:t>Comparativo da Demanda x Capacidade Instalada 2039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F1E027A6-D433-4CDB-A8F6-3506DF30A7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2118625"/>
              </p:ext>
            </p:extLst>
          </p:nvPr>
        </p:nvGraphicFramePr>
        <p:xfrm>
          <a:off x="723901" y="1013349"/>
          <a:ext cx="10561932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363B0A2-3B1C-794E-A8F9-141028E3FEB2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0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6FE2CEB7-C238-A810-BE6C-8D0BFEA6D9E9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19160463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572417" y="232229"/>
            <a:ext cx="11334259" cy="11149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sz="2800" dirty="0"/>
              <a:t>Índice de comprometimento da capacidade instalada - Icci (%)  2020-2039</a:t>
            </a: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46F64ABF-29D6-4E05-990C-2D92C270F8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4442361"/>
              </p:ext>
            </p:extLst>
          </p:nvPr>
        </p:nvGraphicFramePr>
        <p:xfrm>
          <a:off x="1535068" y="1454226"/>
          <a:ext cx="9121864" cy="4973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E6884B59-33B7-2534-AC01-211CAC9F14F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1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EA30490-C099-FD87-29FE-A03E078702D6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2080851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E5A02-0C77-47A0-99F4-BFA27B6A6CD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41934" y="268266"/>
            <a:ext cx="10810567" cy="750976"/>
          </a:xfrm>
        </p:spPr>
        <p:txBody>
          <a:bodyPr>
            <a:noAutofit/>
          </a:bodyPr>
          <a:lstStyle/>
          <a:p>
            <a:pPr algn="ctr"/>
            <a:r>
              <a:rPr lang="pt-BR" sz="2800" b="1" dirty="0">
                <a:latin typeface="Century Gothic" panose="020B0502020202020204" pitchFamily="34" charset="0"/>
              </a:rPr>
              <a:t>Cronograma de Investimentos (2022 a 2039)</a:t>
            </a:r>
          </a:p>
        </p:txBody>
      </p:sp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2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5CF38620-E250-D82D-8387-D984A3B0B8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6598426"/>
              </p:ext>
            </p:extLst>
          </p:nvPr>
        </p:nvGraphicFramePr>
        <p:xfrm>
          <a:off x="2644047" y="1333533"/>
          <a:ext cx="8895929" cy="4654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Shape 3759">
            <a:extLst>
              <a:ext uri="{FF2B5EF4-FFF2-40B4-BE49-F238E27FC236}">
                <a16:creationId xmlns:a16="http://schemas.microsoft.com/office/drawing/2014/main" id="{F6D47E38-199B-D02C-C9EA-4557C100AA79}"/>
              </a:ext>
            </a:extLst>
          </p:cNvPr>
          <p:cNvSpPr/>
          <p:nvPr/>
        </p:nvSpPr>
        <p:spPr>
          <a:xfrm>
            <a:off x="276648" y="1839720"/>
            <a:ext cx="2655738" cy="1589344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0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563 Ações</a:t>
            </a:r>
          </a:p>
          <a:p>
            <a:pPr algn="ctr"/>
            <a:endParaRPr lang="pt-BR" sz="20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ctr"/>
            <a:r>
              <a:rPr lang="pt-BR" sz="20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316 água</a:t>
            </a:r>
          </a:p>
          <a:p>
            <a:pPr algn="ctr"/>
            <a:r>
              <a:rPr lang="pt-BR" sz="20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47 Esgoto</a:t>
            </a:r>
            <a:endParaRPr sz="20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0" name="Gráfico 9" descr="Setas de divisa">
            <a:extLst>
              <a:ext uri="{FF2B5EF4-FFF2-40B4-BE49-F238E27FC236}">
                <a16:creationId xmlns:a16="http://schemas.microsoft.com/office/drawing/2014/main" id="{A628F5B1-C1F6-30ED-9420-03794CEB63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37540" y="4197587"/>
            <a:ext cx="769968" cy="769968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23C29D8C-B801-0019-9C3D-F38FA63CD1D7}"/>
              </a:ext>
            </a:extLst>
          </p:cNvPr>
          <p:cNvSpPr txBox="1"/>
          <p:nvPr/>
        </p:nvSpPr>
        <p:spPr>
          <a:xfrm>
            <a:off x="2515351" y="5911695"/>
            <a:ext cx="3073085" cy="707886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>
            <a:defPPr>
              <a:defRPr lang="pt-BR"/>
            </a:defPPr>
            <a:lvl1pPr algn="ctr" defTabSz="584200">
              <a:lnSpc>
                <a:spcPct val="100000"/>
              </a:lnSpc>
              <a:spcBef>
                <a:spcPts val="0"/>
              </a:spcBef>
              <a:defRPr sz="2000" cap="all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r>
              <a:rPr lang="pt-BR" dirty="0"/>
              <a:t>Média: r$ 347 MI/AN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53CF474-6A5A-C6A7-A258-1F2FE8987778}"/>
              </a:ext>
            </a:extLst>
          </p:cNvPr>
          <p:cNvSpPr txBox="1"/>
          <p:nvPr/>
        </p:nvSpPr>
        <p:spPr>
          <a:xfrm>
            <a:off x="256448" y="3647098"/>
            <a:ext cx="307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Base: PDSB/2017 e PDAE/2019</a:t>
            </a:r>
          </a:p>
        </p:txBody>
      </p:sp>
    </p:spTree>
    <p:extLst>
      <p:ext uri="{BB962C8B-B14F-4D97-AF65-F5344CB8AC3E}">
        <p14:creationId xmlns:p14="http://schemas.microsoft.com/office/powerpoint/2010/main" val="32498850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E5A02-0C77-47A0-99F4-BFA27B6A6CD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06858" y="260296"/>
            <a:ext cx="8944715" cy="750976"/>
          </a:xfrm>
        </p:spPr>
        <p:txBody>
          <a:bodyPr>
            <a:noAutofit/>
          </a:bodyPr>
          <a:lstStyle/>
          <a:p>
            <a:pPr algn="ctr"/>
            <a:r>
              <a:rPr lang="pt-BR" sz="2800" b="1" dirty="0">
                <a:latin typeface="Century Gothic" panose="020B0502020202020204" pitchFamily="34" charset="0"/>
              </a:rPr>
              <a:t>Estratégia de monitoramento do Cronograma de Investimentos (2022 a 2039)</a:t>
            </a:r>
          </a:p>
        </p:txBody>
      </p:sp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3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CA77136B-F17B-520F-3FE1-6B6A0C4BA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247738"/>
              </p:ext>
            </p:extLst>
          </p:nvPr>
        </p:nvGraphicFramePr>
        <p:xfrm>
          <a:off x="728569" y="1223043"/>
          <a:ext cx="10937406" cy="473271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6144179">
                  <a:extLst>
                    <a:ext uri="{9D8B030D-6E8A-4147-A177-3AD203B41FA5}">
                      <a16:colId xmlns:a16="http://schemas.microsoft.com/office/drawing/2014/main" val="175642817"/>
                    </a:ext>
                  </a:extLst>
                </a:gridCol>
                <a:gridCol w="904580">
                  <a:extLst>
                    <a:ext uri="{9D8B030D-6E8A-4147-A177-3AD203B41FA5}">
                      <a16:colId xmlns:a16="http://schemas.microsoft.com/office/drawing/2014/main" val="3668791467"/>
                    </a:ext>
                  </a:extLst>
                </a:gridCol>
                <a:gridCol w="1256890">
                  <a:extLst>
                    <a:ext uri="{9D8B030D-6E8A-4147-A177-3AD203B41FA5}">
                      <a16:colId xmlns:a16="http://schemas.microsoft.com/office/drawing/2014/main" val="2899320283"/>
                    </a:ext>
                  </a:extLst>
                </a:gridCol>
                <a:gridCol w="680278">
                  <a:extLst>
                    <a:ext uri="{9D8B030D-6E8A-4147-A177-3AD203B41FA5}">
                      <a16:colId xmlns:a16="http://schemas.microsoft.com/office/drawing/2014/main" val="2829519592"/>
                    </a:ext>
                  </a:extLst>
                </a:gridCol>
                <a:gridCol w="1236611">
                  <a:extLst>
                    <a:ext uri="{9D8B030D-6E8A-4147-A177-3AD203B41FA5}">
                      <a16:colId xmlns:a16="http://schemas.microsoft.com/office/drawing/2014/main" val="3775478720"/>
                    </a:ext>
                  </a:extLst>
                </a:gridCol>
                <a:gridCol w="714868">
                  <a:extLst>
                    <a:ext uri="{9D8B030D-6E8A-4147-A177-3AD203B41FA5}">
                      <a16:colId xmlns:a16="http://schemas.microsoft.com/office/drawing/2014/main" val="2297951383"/>
                    </a:ext>
                  </a:extLst>
                </a:gridCol>
              </a:tblGrid>
              <a:tr h="2149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ção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ank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or (R$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% Total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or Acumulado (R$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eto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ctr">
                    <a:solidFill>
                      <a:srgbClr val="0088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314962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Substituição de redes e adutoras existentes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51.924.8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12,2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51.924.8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2,2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3064266438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Substituição de redes-Esgoto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83.568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1,1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.435.492.8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3,4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3239033030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Implantação de rede coletora-Esgoto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542.408.051,8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,8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.977.900.851,8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2,2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1916918933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Rede de distribuição - implantação (resp. CAESB)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96.297.364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,5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.374.198.215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8,7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511162774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Ampliação e/ou melhorias no tratamento para a ETE Melchior, 2ª etapa-Esgot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55.921.854,6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5,8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.730.120.070,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4,5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804650080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Implantação de interceptores-Esgot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79.454.418,4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,6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.009.574.488,8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9,0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421748793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Macroação de Controle e Redução de Perdas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66.751.814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.276.326.302,8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53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3021620329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Macroação de Eficiência Energética-Esgot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60.997.757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,2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.537.3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57,6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158923235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Ampliação e/ou melhorias no tratamento para a ETE Melchior, 1ª etapa-Esgot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9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45.0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,0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.782.3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61,6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3644178262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Implantação de 2ª etapa do Sistema Corumbá - fase 1/2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25.0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3,7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007.3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5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520398142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Implantação do Sistema Paranoá Sul  1a. Etapa - Fase 1/2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1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41.7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290.7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9,9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101050961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Implantação do Sistema Paranoá Sul  1a. Etapa - Fase 2/2-Água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1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41.7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290.7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9,9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4276191283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Ligações domiciliares-Esgoto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2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20.123.833,2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2,0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290.724.060,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69,9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842451741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Substituição de ramais prediais-Água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09.370.88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8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410.847.89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1,8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698967014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Ampliação e/ou melhorias no tratamento para a ETE Samambaia-Esgot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4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00.0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6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520.218.77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3,6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089502435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Implantação do Sistema Paranoá Norte 2a. Etapa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5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8.000.000,0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4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620.218.77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5,2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961767466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Implantação do Sistema Paranoá Norte 1a. Etapa - Fase 2/3-Água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6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3.333.333,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4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708.218.77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6,7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750030748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Implantação do Sistema Paranoá Norte 1a. Etapa - Fase 1/3-Água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6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3.333.333,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4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708.218.77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6,7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2064281316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>
                          <a:effectLst/>
                        </a:rPr>
                        <a:t>Implantação do Sistema Paranoá Norte 1a. Etapa - Fase 3/3-Água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6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83.333.333,3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4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4.708.218.773,7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76,7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3704849308"/>
                  </a:ext>
                </a:extLst>
              </a:tr>
              <a:tr h="214905">
                <a:tc>
                  <a:txBody>
                    <a:bodyPr/>
                    <a:lstStyle/>
                    <a:p>
                      <a:pPr algn="l" fontAlgn="b"/>
                      <a:r>
                        <a:rPr lang="pt-BR" sz="1300" u="none" strike="noStrike" dirty="0">
                          <a:effectLst/>
                        </a:rPr>
                        <a:t>Implantação de 2ª etapa do Sistema Corumbá - fase 2/2-Águ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17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80.000.000,0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1,3%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>
                          <a:effectLst/>
                        </a:rPr>
                        <a:t>4.958.218.773,7</a:t>
                      </a:r>
                      <a:endParaRPr lang="pt-BR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300" u="none" strike="noStrike" dirty="0">
                          <a:effectLst/>
                        </a:rPr>
                        <a:t>80,7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895" marR="7895" marT="7895" marB="0" anchor="b"/>
                </a:tc>
                <a:extLst>
                  <a:ext uri="{0D108BD9-81ED-4DB2-BD59-A6C34878D82A}">
                    <a16:rowId xmlns:a16="http://schemas.microsoft.com/office/drawing/2014/main" val="1825728103"/>
                  </a:ext>
                </a:extLst>
              </a:tr>
            </a:tbl>
          </a:graphicData>
        </a:graphic>
      </p:graphicFrame>
      <p:sp>
        <p:nvSpPr>
          <p:cNvPr id="11" name="Shape 3759">
            <a:extLst>
              <a:ext uri="{FF2B5EF4-FFF2-40B4-BE49-F238E27FC236}">
                <a16:creationId xmlns:a16="http://schemas.microsoft.com/office/drawing/2014/main" id="{060B6550-4B3E-88CB-A002-3165371D5198}"/>
              </a:ext>
            </a:extLst>
          </p:cNvPr>
          <p:cNvSpPr/>
          <p:nvPr/>
        </p:nvSpPr>
        <p:spPr>
          <a:xfrm>
            <a:off x="728568" y="6090347"/>
            <a:ext cx="7034980" cy="467104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1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7 macro ações &gt;&gt; 80% do volume de investimentos</a:t>
            </a:r>
          </a:p>
        </p:txBody>
      </p:sp>
    </p:spTree>
    <p:extLst>
      <p:ext uri="{BB962C8B-B14F-4D97-AF65-F5344CB8AC3E}">
        <p14:creationId xmlns:p14="http://schemas.microsoft.com/office/powerpoint/2010/main" val="3049472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5F57643C-2D47-ED90-FF23-A1016B013688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0" y="-1"/>
            <a:ext cx="12236966" cy="685800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906" y="303832"/>
            <a:ext cx="8509715" cy="914401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nálise do Plano de Exploração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3600" dirty="0">
              <a:solidFill>
                <a:srgbClr val="00B0F0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030819CD-29B8-3E7B-9B12-298856686D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737" y="1885930"/>
            <a:ext cx="2211764" cy="24175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" name="Shape 3759">
            <a:extLst>
              <a:ext uri="{FF2B5EF4-FFF2-40B4-BE49-F238E27FC236}">
                <a16:creationId xmlns:a16="http://schemas.microsoft.com/office/drawing/2014/main" id="{274EDD95-FFB1-AD8E-71FA-621C71D57C45}"/>
              </a:ext>
            </a:extLst>
          </p:cNvPr>
          <p:cNvSpPr/>
          <p:nvPr/>
        </p:nvSpPr>
        <p:spPr>
          <a:xfrm>
            <a:off x="2776873" y="2082897"/>
            <a:ext cx="8075982" cy="20443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457200" indent="-457200" algn="ctr" defTabSz="5842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3200" b="1" cap="all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lano de Contingência e</a:t>
            </a:r>
          </a:p>
          <a:p>
            <a:pPr algn="ctr" defTabSz="584200">
              <a:lnSpc>
                <a:spcPct val="150000"/>
              </a:lnSpc>
              <a:spcBef>
                <a:spcPts val="0"/>
              </a:spcBef>
            </a:pPr>
            <a:r>
              <a:rPr lang="pt-BR" sz="3200" b="1" cap="all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mergência</a:t>
            </a:r>
          </a:p>
        </p:txBody>
      </p:sp>
      <p:pic>
        <p:nvPicPr>
          <p:cNvPr id="7" name="Gráfico 6" descr="Sirene">
            <a:extLst>
              <a:ext uri="{FF2B5EF4-FFF2-40B4-BE49-F238E27FC236}">
                <a16:creationId xmlns:a16="http://schemas.microsoft.com/office/drawing/2014/main" id="{6B287C42-CCBE-60CE-3EA2-E7815BC11A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71001" y="4303527"/>
            <a:ext cx="1689809" cy="168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706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2DBF3A57-33E7-4E74-A22E-B735A393595F}"/>
              </a:ext>
            </a:extLst>
          </p:cNvPr>
          <p:cNvSpPr/>
          <p:nvPr/>
        </p:nvSpPr>
        <p:spPr>
          <a:xfrm>
            <a:off x="816853" y="1565031"/>
            <a:ext cx="4062046" cy="4783015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4CE46B6-115B-40A1-B318-A9DE91EC79E9}"/>
              </a:ext>
            </a:extLst>
          </p:cNvPr>
          <p:cNvSpPr txBox="1"/>
          <p:nvPr/>
        </p:nvSpPr>
        <p:spPr>
          <a:xfrm>
            <a:off x="1078363" y="1639603"/>
            <a:ext cx="35390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Plano Diretor de Contingência - PDC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F7C48029-FA0A-43B4-8B53-2C1016A98639}"/>
              </a:ext>
            </a:extLst>
          </p:cNvPr>
          <p:cNvSpPr txBox="1"/>
          <p:nvPr/>
        </p:nvSpPr>
        <p:spPr>
          <a:xfrm>
            <a:off x="955983" y="2137073"/>
            <a:ext cx="3783783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bg1"/>
                </a:solidFill>
                <a:latin typeface="Calibri" panose="020F0502020204030204" pitchFamily="34" charset="0"/>
              </a:rPr>
              <a:t>D</a:t>
            </a:r>
            <a:r>
              <a:rPr lang="pt-BR" sz="16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escrição dos sistemas existentes;</a:t>
            </a:r>
            <a:r>
              <a:rPr lang="pt-BR" sz="16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bg1"/>
                </a:solidFill>
                <a:latin typeface="Calibri" panose="020F0502020204030204" pitchFamily="34" charset="0"/>
              </a:rPr>
              <a:t>D</a:t>
            </a:r>
            <a:r>
              <a:rPr lang="pt-BR" sz="16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efinição do Método APP &amp; HAZOP (Avaliação Preliminar de Perigo) para classificação das ameaças e dos riscos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Identificação e classificação das ameaças e riscos a que os sistemas estão expostos;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Cruzamento </a:t>
            </a:r>
            <a:r>
              <a:rPr lang="pt-BR" sz="1600" dirty="0">
                <a:solidFill>
                  <a:schemeClr val="bg1"/>
                </a:solidFill>
                <a:latin typeface="Calibri" panose="020F0502020204030204" pitchFamily="34" charset="0"/>
              </a:rPr>
              <a:t>entre </a:t>
            </a:r>
            <a:r>
              <a:rPr lang="pt-BR" sz="16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frequência x severidade dos eventos adversos para gradação do risco em Desprezível, Menor, Moderado, Sério e Crítico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bg1"/>
                </a:solidFill>
              </a:rPr>
              <a:t>Diretrizes básicas para o desdobramento no planejamento 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A0CCB674-CCD4-4B46-969F-9589FC3765EA}"/>
              </a:ext>
            </a:extLst>
          </p:cNvPr>
          <p:cNvSpPr/>
          <p:nvPr/>
        </p:nvSpPr>
        <p:spPr>
          <a:xfrm>
            <a:off x="6151679" y="1987797"/>
            <a:ext cx="5507421" cy="741612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t-BR" dirty="0"/>
          </a:p>
        </p:txBody>
      </p:sp>
      <p:pic>
        <p:nvPicPr>
          <p:cNvPr id="9" name="Gráfico 8" descr="Setas de divisa">
            <a:extLst>
              <a:ext uri="{FF2B5EF4-FFF2-40B4-BE49-F238E27FC236}">
                <a16:creationId xmlns:a16="http://schemas.microsoft.com/office/drawing/2014/main" id="{A70EBE6B-BFE9-4FD1-A832-642A028399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30305" y="3461364"/>
            <a:ext cx="769968" cy="76996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89A5ED79-1B62-4A90-B822-79BD9ACF0128}"/>
              </a:ext>
            </a:extLst>
          </p:cNvPr>
          <p:cNvSpPr txBox="1"/>
          <p:nvPr/>
        </p:nvSpPr>
        <p:spPr>
          <a:xfrm>
            <a:off x="6219675" y="2173937"/>
            <a:ext cx="50720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Plano  de  Prevenção  e  Resposta a Desastre – PPRD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5C80F24-5DD3-4BB6-AB7C-4219296EBAF9}"/>
              </a:ext>
            </a:extLst>
          </p:cNvPr>
          <p:cNvSpPr txBox="1"/>
          <p:nvPr/>
        </p:nvSpPr>
        <p:spPr>
          <a:xfrm>
            <a:off x="6219675" y="4113833"/>
            <a:ext cx="50720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Plano  de  Prevenção  e  Resposta a Desastre – PPRD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E6D08B95-8EA0-4535-9DFC-91B91CB350CF}"/>
              </a:ext>
            </a:extLst>
          </p:cNvPr>
          <p:cNvSpPr/>
          <p:nvPr/>
        </p:nvSpPr>
        <p:spPr>
          <a:xfrm>
            <a:off x="6151679" y="4855445"/>
            <a:ext cx="5507421" cy="741612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36DF2CD-1602-47EF-BB28-842FD2CFC842}"/>
              </a:ext>
            </a:extLst>
          </p:cNvPr>
          <p:cNvSpPr txBox="1"/>
          <p:nvPr/>
        </p:nvSpPr>
        <p:spPr>
          <a:xfrm>
            <a:off x="6219675" y="5041585"/>
            <a:ext cx="50720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Plano  de  Prevenção  e  Resposta a Desastre – PPRD</a:t>
            </a:r>
          </a:p>
        </p:txBody>
      </p:sp>
      <p:sp>
        <p:nvSpPr>
          <p:cNvPr id="18" name="Título 1">
            <a:extLst>
              <a:ext uri="{FF2B5EF4-FFF2-40B4-BE49-F238E27FC236}">
                <a16:creationId xmlns:a16="http://schemas.microsoft.com/office/drawing/2014/main" id="{EEEE57BE-19AB-46CC-846C-FCE959D133CF}"/>
              </a:ext>
            </a:extLst>
          </p:cNvPr>
          <p:cNvSpPr txBox="1">
            <a:spLocks/>
          </p:cNvSpPr>
          <p:nvPr/>
        </p:nvSpPr>
        <p:spPr>
          <a:xfrm>
            <a:off x="482996" y="178346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C8BC4F6F-00CA-A9EF-1527-0C2FAA5CE90F}"/>
              </a:ext>
            </a:extLst>
          </p:cNvPr>
          <p:cNvSpPr txBox="1"/>
          <p:nvPr/>
        </p:nvSpPr>
        <p:spPr>
          <a:xfrm>
            <a:off x="8547936" y="3906788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....</a:t>
            </a:r>
          </a:p>
        </p:txBody>
      </p:sp>
      <p:sp>
        <p:nvSpPr>
          <p:cNvPr id="19" name="Espaço Reservado para Número de Slide 29">
            <a:extLst>
              <a:ext uri="{FF2B5EF4-FFF2-40B4-BE49-F238E27FC236}">
                <a16:creationId xmlns:a16="http://schemas.microsoft.com/office/drawing/2014/main" id="{CE24B13C-D4DA-CF0E-AB52-063EE4A415D6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5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8F6555CF-C4C7-D262-89CE-010BE97F5206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A31BB4B-BB9B-CD80-7B92-0A75FD6C5A5B}"/>
              </a:ext>
            </a:extLst>
          </p:cNvPr>
          <p:cNvSpPr/>
          <p:nvPr/>
        </p:nvSpPr>
        <p:spPr>
          <a:xfrm>
            <a:off x="6151679" y="2958131"/>
            <a:ext cx="5507421" cy="741612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0374F95F-2CFC-1DF5-377E-4648A1BB6E21}"/>
              </a:ext>
            </a:extLst>
          </p:cNvPr>
          <p:cNvSpPr txBox="1"/>
          <p:nvPr/>
        </p:nvSpPr>
        <p:spPr>
          <a:xfrm>
            <a:off x="6219675" y="3152181"/>
            <a:ext cx="50720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Plano  de  Prevenção  e  Resposta a Desastre – PPRD</a:t>
            </a:r>
          </a:p>
        </p:txBody>
      </p:sp>
    </p:spTree>
    <p:extLst>
      <p:ext uri="{BB962C8B-B14F-4D97-AF65-F5344CB8AC3E}">
        <p14:creationId xmlns:p14="http://schemas.microsoft.com/office/powerpoint/2010/main" val="1055016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6</a:t>
            </a:fld>
            <a:endParaRPr lang="pt-BR" sz="360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B2FBA2D2-7EB1-225F-E1DC-AB0A7825C5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249" y="2293664"/>
            <a:ext cx="10802186" cy="4090988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43B49BF-66C3-2701-5044-946EDE28DDEE}"/>
              </a:ext>
            </a:extLst>
          </p:cNvPr>
          <p:cNvSpPr txBox="1"/>
          <p:nvPr/>
        </p:nvSpPr>
        <p:spPr>
          <a:xfrm>
            <a:off x="586249" y="1796950"/>
            <a:ext cx="77694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Century Gothic" panose="020B0502020202020204" pitchFamily="34" charset="0"/>
              </a:rPr>
              <a:t>Cronograma de Implementação do Plano Diretor de Contingência</a:t>
            </a:r>
            <a:endParaRPr lang="pt-BR" dirty="0">
              <a:latin typeface="Century Gothic" panose="020B0502020202020204" pitchFamily="34" charset="0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189A321-A610-3AD9-08E6-D361111EC34A}"/>
              </a:ext>
            </a:extLst>
          </p:cNvPr>
          <p:cNvSpPr txBox="1">
            <a:spLocks/>
          </p:cNvSpPr>
          <p:nvPr/>
        </p:nvSpPr>
        <p:spPr>
          <a:xfrm>
            <a:off x="445622" y="404530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</p:spTree>
    <p:extLst>
      <p:ext uri="{BB962C8B-B14F-4D97-AF65-F5344CB8AC3E}">
        <p14:creationId xmlns:p14="http://schemas.microsoft.com/office/powerpoint/2010/main" val="23511092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5F57643C-2D47-ED90-FF23-A1016B013688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0" y="-1"/>
            <a:ext cx="12236966" cy="685800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1648" y="270797"/>
            <a:ext cx="8509715" cy="914401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nálise do Plano de Exploração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3600" dirty="0">
              <a:solidFill>
                <a:srgbClr val="00B0F0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030819CD-29B8-3E7B-9B12-298856686D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455" y="2149541"/>
            <a:ext cx="2211764" cy="24175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2" name="Shape 3759">
            <a:extLst>
              <a:ext uri="{FF2B5EF4-FFF2-40B4-BE49-F238E27FC236}">
                <a16:creationId xmlns:a16="http://schemas.microsoft.com/office/drawing/2014/main" id="{274EDD95-FFB1-AD8E-71FA-621C71D57C45}"/>
              </a:ext>
            </a:extLst>
          </p:cNvPr>
          <p:cNvSpPr/>
          <p:nvPr/>
        </p:nvSpPr>
        <p:spPr>
          <a:xfrm>
            <a:off x="3142674" y="2149541"/>
            <a:ext cx="7741991" cy="20443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457200" indent="-4572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3200" b="1" dirty="0">
                <a:latin typeface="Century Gothic" panose="020B0502020202020204" pitchFamily="34" charset="0"/>
              </a:rPr>
              <a:t>Planejamento e Avaliação da Execução do Plano</a:t>
            </a:r>
          </a:p>
        </p:txBody>
      </p:sp>
      <p:pic>
        <p:nvPicPr>
          <p:cNvPr id="7" name="Gráfico 6" descr="Gráfico de barras com tendência ascendente">
            <a:extLst>
              <a:ext uri="{FF2B5EF4-FFF2-40B4-BE49-F238E27FC236}">
                <a16:creationId xmlns:a16="http://schemas.microsoft.com/office/drawing/2014/main" id="{F5823E7B-E74C-9046-31EF-359AB64F39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05280" y="4663886"/>
            <a:ext cx="1626405" cy="162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909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8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007C9D10-7F15-1584-2E32-229E2BE551B5}"/>
              </a:ext>
            </a:extLst>
          </p:cNvPr>
          <p:cNvSpPr txBox="1">
            <a:spLocks/>
          </p:cNvSpPr>
          <p:nvPr/>
        </p:nvSpPr>
        <p:spPr>
          <a:xfrm>
            <a:off x="604684" y="117711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lanejamento da Avaliação e Execuçã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27A3AC9-5AD3-B182-09E9-24A3EE234179}"/>
              </a:ext>
            </a:extLst>
          </p:cNvPr>
          <p:cNvSpPr txBox="1"/>
          <p:nvPr/>
        </p:nvSpPr>
        <p:spPr>
          <a:xfrm>
            <a:off x="835858" y="1624420"/>
            <a:ext cx="3893573" cy="1477328"/>
          </a:xfrm>
          <a:prstGeom prst="rect">
            <a:avLst/>
          </a:prstGeom>
          <a:solidFill>
            <a:srgbClr val="0088C2"/>
          </a:solidFill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>
                <a:solidFill>
                  <a:schemeClr val="bg1"/>
                </a:solidFill>
              </a:rPr>
              <a:t>16 Indicadores Estratégicos propostos pela Adasa</a:t>
            </a:r>
          </a:p>
          <a:p>
            <a:endParaRPr lang="pt-BR" dirty="0">
              <a:solidFill>
                <a:schemeClr val="bg1"/>
              </a:solidFill>
            </a:endParaRPr>
          </a:p>
          <a:p>
            <a:r>
              <a:rPr lang="pt-BR" dirty="0">
                <a:solidFill>
                  <a:schemeClr val="bg1"/>
                </a:solidFill>
              </a:rPr>
              <a:t>10 Indicadores para SAA e</a:t>
            </a:r>
          </a:p>
          <a:p>
            <a:r>
              <a:rPr lang="pt-BR" dirty="0">
                <a:solidFill>
                  <a:schemeClr val="bg1"/>
                </a:solidFill>
              </a:rPr>
              <a:t>6 Indicadores para SE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BC92B00-F74E-37AC-D857-1514CCDE1993}"/>
              </a:ext>
            </a:extLst>
          </p:cNvPr>
          <p:cNvSpPr txBox="1"/>
          <p:nvPr/>
        </p:nvSpPr>
        <p:spPr>
          <a:xfrm>
            <a:off x="835859" y="3429000"/>
            <a:ext cx="3893574" cy="2308324"/>
          </a:xfrm>
          <a:prstGeom prst="rect">
            <a:avLst/>
          </a:prstGeom>
          <a:solidFill>
            <a:srgbClr val="0088C2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1"/>
                </a:solidFill>
              </a:rPr>
              <a:t>Incorporados indicadores e metas do plano de saneament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1"/>
                </a:solidFill>
              </a:rPr>
              <a:t>Indicadores utilizados do Fator X de qualidade;</a:t>
            </a:r>
          </a:p>
          <a:p>
            <a:endParaRPr lang="pt-BR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1"/>
                </a:solidFill>
              </a:rPr>
              <a:t>Análise da trajetória dos indicadores e normativos legais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25484337-EFC3-6F72-452A-46AF8C829D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9191" y="1161761"/>
            <a:ext cx="6076950" cy="530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583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FB780B-1391-545B-8B3E-AC0ECC685CCC}"/>
              </a:ext>
            </a:extLst>
          </p:cNvPr>
          <p:cNvSpPr txBox="1">
            <a:spLocks/>
          </p:cNvSpPr>
          <p:nvPr/>
        </p:nvSpPr>
        <p:spPr>
          <a:xfrm>
            <a:off x="604684" y="117711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lanejamento da Avaliação e Execução</a:t>
            </a: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14824FBB-ACBA-4F00-946F-D2BCEF36CA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2017682"/>
              </p:ext>
            </p:extLst>
          </p:nvPr>
        </p:nvGraphicFramePr>
        <p:xfrm>
          <a:off x="920236" y="1017177"/>
          <a:ext cx="10214795" cy="547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CF0B9077-D20B-8153-492B-AD1BADA42342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19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DB65629-0FB8-3335-3C11-BF833207D622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13090762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>
            <a:extLst>
              <a:ext uri="{FF2B5EF4-FFF2-40B4-BE49-F238E27FC236}">
                <a16:creationId xmlns:a16="http://schemas.microsoft.com/office/drawing/2014/main" id="{BE7B6BC1-6F7F-3EED-51EA-7CE5CA2AB58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19148" y="3491114"/>
            <a:ext cx="4624148" cy="36009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000" b="1" i="0" u="none" strike="noStrike" cap="none" normalizeH="0" baseline="0">
                <a:ln>
                  <a:noFill/>
                </a:ln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t-BR" dirty="0">
                <a:latin typeface="Century Gothic" panose="020B0502020202020204" pitchFamily="34" charset="0"/>
              </a:rPr>
              <a:t>Contrato de concessã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DB1CB9E6-61ED-C953-9B81-B61AC1372365}"/>
              </a:ext>
            </a:extLst>
          </p:cNvPr>
          <p:cNvSpPr txBox="1"/>
          <p:nvPr/>
        </p:nvSpPr>
        <p:spPr>
          <a:xfrm>
            <a:off x="1758525" y="4181191"/>
            <a:ext cx="8674949" cy="246221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pt-BR" b="1" dirty="0">
                <a:latin typeface="Century Gothic" panose="020B0502020202020204" pitchFamily="34" charset="0"/>
                <a:cs typeface="Calibri"/>
              </a:rPr>
              <a:t>CLÁUSULA QUINTA – OBRIGAÇÕES E ENCARGOS DA CONCESSIONÁRIA</a:t>
            </a:r>
            <a:endParaRPr lang="pt-BR" dirty="0">
              <a:latin typeface="Century Gothic" panose="020B0502020202020204" pitchFamily="34" charset="0"/>
              <a:cs typeface="Calibri"/>
            </a:endParaRPr>
          </a:p>
          <a:p>
            <a:r>
              <a:rPr lang="pt-BR" sz="1200" dirty="0">
                <a:latin typeface="Century Gothic" panose="020B0502020202020204" pitchFamily="34" charset="0"/>
              </a:rPr>
              <a:t>(...)</a:t>
            </a:r>
            <a:endParaRPr lang="pt-BR" sz="1200" dirty="0">
              <a:latin typeface="Century Gothic" panose="020B0502020202020204" pitchFamily="34" charset="0"/>
              <a:cs typeface="Calibri"/>
            </a:endParaRPr>
          </a:p>
          <a:p>
            <a:pPr algn="just"/>
            <a:r>
              <a:rPr lang="pt-BR" sz="1400" dirty="0">
                <a:latin typeface="Century Gothic" panose="020B0502020202020204" pitchFamily="34" charset="0"/>
              </a:rPr>
              <a:t>VI</a:t>
            </a:r>
            <a:r>
              <a:rPr lang="pt-BR" sz="1400" b="1" dirty="0">
                <a:latin typeface="Century Gothic" panose="020B0502020202020204" pitchFamily="34" charset="0"/>
              </a:rPr>
              <a:t> – </a:t>
            </a:r>
            <a:r>
              <a:rPr lang="pt-BR" sz="1400" dirty="0">
                <a:latin typeface="Century Gothic" panose="020B0502020202020204" pitchFamily="34" charset="0"/>
              </a:rPr>
              <a:t>Elaborar</a:t>
            </a:r>
            <a:r>
              <a:rPr lang="pt-BR" sz="1400" b="1" dirty="0">
                <a:latin typeface="Century Gothic" panose="020B0502020202020204" pitchFamily="34" charset="0"/>
              </a:rPr>
              <a:t> </a:t>
            </a:r>
            <a:r>
              <a:rPr lang="pt-BR" sz="1400" dirty="0">
                <a:latin typeface="Century Gothic" panose="020B0502020202020204" pitchFamily="34" charset="0"/>
              </a:rPr>
              <a:t>a versão inicial e as atualizações periódicas do </a:t>
            </a:r>
            <a:r>
              <a:rPr lang="pt-BR" sz="1400" b="1" dirty="0">
                <a:latin typeface="Century Gothic" panose="020B0502020202020204" pitchFamily="34" charset="0"/>
              </a:rPr>
              <a:t>Plano de Exploração dos Serviços</a:t>
            </a:r>
            <a:r>
              <a:rPr lang="pt-BR" sz="1400" dirty="0">
                <a:latin typeface="Century Gothic" panose="020B0502020202020204" pitchFamily="34" charset="0"/>
              </a:rPr>
              <a:t>, </a:t>
            </a:r>
            <a:r>
              <a:rPr lang="pt-BR" sz="1400" u="sng" dirty="0">
                <a:latin typeface="Century Gothic" panose="020B0502020202020204" pitchFamily="34" charset="0"/>
              </a:rPr>
              <a:t>no formato e prazos estabelecidos em regulamentação específica emitida pela ADASA</a:t>
            </a:r>
            <a:r>
              <a:rPr lang="pt-BR" sz="1400" dirty="0">
                <a:latin typeface="Century Gothic" panose="020B0502020202020204" pitchFamily="34" charset="0"/>
              </a:rPr>
              <a:t>, em conformidade com o </a:t>
            </a:r>
            <a:r>
              <a:rPr lang="pt-BR" sz="1400" b="1" dirty="0">
                <a:latin typeface="Century Gothic" panose="020B0502020202020204" pitchFamily="34" charset="0"/>
              </a:rPr>
              <a:t>Plano de Saneamento Básico do Distrito Federal,</a:t>
            </a:r>
            <a:r>
              <a:rPr lang="pt-BR" sz="1400" dirty="0">
                <a:latin typeface="Century Gothic" panose="020B0502020202020204" pitchFamily="34" charset="0"/>
              </a:rPr>
              <a:t> contemplando as seguintes </a:t>
            </a:r>
            <a:r>
              <a:rPr lang="pt-BR" sz="1400" b="1" dirty="0">
                <a:latin typeface="Century Gothic" panose="020B0502020202020204" pitchFamily="34" charset="0"/>
              </a:rPr>
              <a:t>peças de gestão</a:t>
            </a:r>
            <a:r>
              <a:rPr lang="pt-BR" sz="1400" dirty="0">
                <a:latin typeface="Century Gothic" panose="020B0502020202020204" pitchFamily="34" charset="0"/>
              </a:rPr>
              <a:t>: </a:t>
            </a:r>
            <a:r>
              <a:rPr lang="pt-BR" sz="1400" b="1" u="sng" dirty="0">
                <a:latin typeface="Century Gothic" panose="020B0502020202020204" pitchFamily="34" charset="0"/>
              </a:rPr>
              <a:t>(1º Termo Aditivo)</a:t>
            </a:r>
          </a:p>
          <a:p>
            <a:endParaRPr lang="pt-BR" sz="1400" dirty="0">
              <a:latin typeface="Century Gothic" panose="020B0502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pt-BR" b="1" dirty="0">
                <a:latin typeface="Century Gothic" panose="020B0502020202020204" pitchFamily="34" charset="0"/>
              </a:rPr>
              <a:t>Plano de Expansão</a:t>
            </a:r>
            <a:r>
              <a:rPr lang="pt-BR" dirty="0">
                <a:latin typeface="Century Gothic" panose="020B0502020202020204" pitchFamily="34" charset="0"/>
              </a:rPr>
              <a:t>;</a:t>
            </a:r>
            <a:endParaRPr lang="pt-BR" b="1" dirty="0">
              <a:latin typeface="Century Gothic" panose="020B0502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pt-BR" b="1" dirty="0">
                <a:latin typeface="Century Gothic" panose="020B0502020202020204" pitchFamily="34" charset="0"/>
              </a:rPr>
              <a:t>Plano de Operação e Manutenção;</a:t>
            </a:r>
            <a:endParaRPr lang="pt-BR" sz="1400" b="1" u="sng" dirty="0">
              <a:latin typeface="Century Gothic" panose="020B0502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pt-BR" b="1" dirty="0">
                <a:latin typeface="Century Gothic" panose="020B0502020202020204" pitchFamily="34" charset="0"/>
              </a:rPr>
              <a:t>Plano de Contingência e Emergência;</a:t>
            </a:r>
            <a:endParaRPr lang="pt-BR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F050D1A1-BA93-2BC4-28B4-F94787855D6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19148" y="1005916"/>
            <a:ext cx="4624148" cy="36007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5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pt-BR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Lei n. 4.285/2008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1426D916-2B6F-5B26-A4A2-1474C01BC29B}"/>
              </a:ext>
            </a:extLst>
          </p:cNvPr>
          <p:cNvSpPr txBox="1"/>
          <p:nvPr/>
        </p:nvSpPr>
        <p:spPr>
          <a:xfrm>
            <a:off x="2055489" y="1553424"/>
            <a:ext cx="8674949" cy="178510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pt-BR" dirty="0">
                <a:latin typeface="Century Gothic" panose="020B0502020202020204" pitchFamily="34" charset="0"/>
                <a:cs typeface="Calibri"/>
              </a:rPr>
              <a:t>Art.  45.  Sem  prejuízo  dos  encargos  previstos  em  normas  legais  e regulamentares,  constituem  </a:t>
            </a:r>
            <a:r>
              <a:rPr lang="pt-BR" b="1" dirty="0">
                <a:latin typeface="Century Gothic" panose="020B0502020202020204" pitchFamily="34" charset="0"/>
                <a:cs typeface="Calibri"/>
              </a:rPr>
              <a:t>obrigações  dos  prestadores  de  serviços  públicos  </a:t>
            </a:r>
            <a:r>
              <a:rPr lang="pt-BR" dirty="0">
                <a:latin typeface="Century Gothic" panose="020B0502020202020204" pitchFamily="34" charset="0"/>
                <a:cs typeface="Calibri"/>
              </a:rPr>
              <a:t>de saneamento básico: </a:t>
            </a:r>
          </a:p>
          <a:p>
            <a:pPr algn="ctr"/>
            <a:endParaRPr lang="pt-BR" sz="1400" b="1" dirty="0">
              <a:latin typeface="Century Gothic" panose="020B0502020202020204" pitchFamily="34" charset="0"/>
              <a:cs typeface="Calibri"/>
            </a:endParaRPr>
          </a:p>
          <a:p>
            <a:r>
              <a:rPr lang="pt-BR" sz="1400" dirty="0">
                <a:latin typeface="Century Gothic" panose="020B0502020202020204" pitchFamily="34" charset="0"/>
              </a:rPr>
              <a:t>II – elaborar e apresentar à ADASA o </a:t>
            </a:r>
            <a:r>
              <a:rPr lang="pt-BR" sz="1400" b="1" dirty="0">
                <a:latin typeface="Century Gothic" panose="020B0502020202020204" pitchFamily="34" charset="0"/>
              </a:rPr>
              <a:t>plano de exploração </a:t>
            </a:r>
            <a:r>
              <a:rPr lang="pt-BR" sz="1400" dirty="0">
                <a:latin typeface="Century Gothic" panose="020B0502020202020204" pitchFamily="34" charset="0"/>
              </a:rPr>
              <a:t>dos serviços em harmonia  com  os  </a:t>
            </a:r>
            <a:r>
              <a:rPr lang="pt-BR" sz="1400" b="1" dirty="0">
                <a:latin typeface="Century Gothic" panose="020B0502020202020204" pitchFamily="34" charset="0"/>
              </a:rPr>
              <a:t>planos  de  saneamento  básico  do  Distrito  Federal</a:t>
            </a:r>
            <a:r>
              <a:rPr lang="pt-BR" sz="1400" dirty="0">
                <a:latin typeface="Century Gothic" panose="020B0502020202020204" pitchFamily="34" charset="0"/>
              </a:rPr>
              <a:t>,  definindo  as </a:t>
            </a:r>
            <a:r>
              <a:rPr lang="pt-BR" sz="1400" i="1" dirty="0">
                <a:latin typeface="Century Gothic" panose="020B0502020202020204" pitchFamily="34" charset="0"/>
              </a:rPr>
              <a:t>estratégias  de  operação</a:t>
            </a:r>
            <a:r>
              <a:rPr lang="pt-BR" sz="1400" dirty="0">
                <a:latin typeface="Century Gothic" panose="020B0502020202020204" pitchFamily="34" charset="0"/>
              </a:rPr>
              <a:t>,  a  </a:t>
            </a:r>
            <a:r>
              <a:rPr lang="pt-BR" sz="1400" i="1" dirty="0">
                <a:latin typeface="Century Gothic" panose="020B0502020202020204" pitchFamily="34" charset="0"/>
              </a:rPr>
              <a:t>previsão  das  expansões  </a:t>
            </a:r>
            <a:r>
              <a:rPr lang="pt-BR" sz="1400" dirty="0">
                <a:latin typeface="Century Gothic" panose="020B0502020202020204" pitchFamily="34" charset="0"/>
              </a:rPr>
              <a:t>e  os  </a:t>
            </a:r>
            <a:r>
              <a:rPr lang="pt-BR" sz="1400" i="1" dirty="0">
                <a:latin typeface="Century Gothic" panose="020B0502020202020204" pitchFamily="34" charset="0"/>
              </a:rPr>
              <a:t>recursos  previstos</a:t>
            </a:r>
            <a:r>
              <a:rPr lang="pt-BR" sz="1400" dirty="0">
                <a:latin typeface="Century Gothic" panose="020B0502020202020204" pitchFamily="34" charset="0"/>
              </a:rPr>
              <a:t>  para investimento; 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E3213A43-58B1-3FE2-FFBF-BD3BA459F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376" y="209840"/>
            <a:ext cx="10515600" cy="608648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Exigência legal do Plano de Exploração</a:t>
            </a:r>
          </a:p>
        </p:txBody>
      </p:sp>
      <p:sp>
        <p:nvSpPr>
          <p:cNvPr id="9" name="Espaço Reservado para Número de Slide 29">
            <a:extLst>
              <a:ext uri="{FF2B5EF4-FFF2-40B4-BE49-F238E27FC236}">
                <a16:creationId xmlns:a16="http://schemas.microsoft.com/office/drawing/2014/main" id="{9FCE3E68-924D-ED9B-7EAC-E0B86959321F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398DC04-44B4-FACD-48BB-D1C334F5448D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39927334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FB780B-1391-545B-8B3E-AC0ECC685CCC}"/>
              </a:ext>
            </a:extLst>
          </p:cNvPr>
          <p:cNvSpPr txBox="1">
            <a:spLocks/>
          </p:cNvSpPr>
          <p:nvPr/>
        </p:nvSpPr>
        <p:spPr>
          <a:xfrm>
            <a:off x="604684" y="117711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lanejamento da Avaliação e Execução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F14D81CE-209F-4294-B773-0069C82A73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2289155"/>
              </p:ext>
            </p:extLst>
          </p:nvPr>
        </p:nvGraphicFramePr>
        <p:xfrm>
          <a:off x="457200" y="1016716"/>
          <a:ext cx="11002297" cy="5369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Espaço Reservado para Número de Slide 29">
            <a:extLst>
              <a:ext uri="{FF2B5EF4-FFF2-40B4-BE49-F238E27FC236}">
                <a16:creationId xmlns:a16="http://schemas.microsoft.com/office/drawing/2014/main" id="{4DEFB68F-89BB-76BF-4C4A-D9C75DDD75C0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0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C8A9643-95F5-C8BD-19F3-1121B3D804D1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40150420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355594-EEAF-49FF-99F0-5035CC8FA526}"/>
              </a:ext>
            </a:extLst>
          </p:cNvPr>
          <p:cNvSpPr txBox="1">
            <a:spLocks/>
          </p:cNvSpPr>
          <p:nvPr/>
        </p:nvSpPr>
        <p:spPr>
          <a:xfrm>
            <a:off x="198675" y="365328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rocesso de Execução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FB420BB5-0873-4A85-BE1F-49A30D9ED645}"/>
              </a:ext>
            </a:extLst>
          </p:cNvPr>
          <p:cNvSpPr/>
          <p:nvPr/>
        </p:nvSpPr>
        <p:spPr>
          <a:xfrm>
            <a:off x="8993918" y="1554210"/>
            <a:ext cx="2089976" cy="3139979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pt-BR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F3FE8F48-6879-442B-87B4-FF7CE53C86D8}"/>
              </a:ext>
            </a:extLst>
          </p:cNvPr>
          <p:cNvSpPr/>
          <p:nvPr/>
        </p:nvSpPr>
        <p:spPr>
          <a:xfrm>
            <a:off x="3546745" y="2087394"/>
            <a:ext cx="925319" cy="1299411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23DE047E-BEE1-4CCE-8B3D-2D7D0C3C60EC}"/>
              </a:ext>
            </a:extLst>
          </p:cNvPr>
          <p:cNvSpPr/>
          <p:nvPr/>
        </p:nvSpPr>
        <p:spPr>
          <a:xfrm>
            <a:off x="4903259" y="2087393"/>
            <a:ext cx="925319" cy="1299411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0267D4B9-2C23-4B9A-998D-64A44A7142D2}"/>
              </a:ext>
            </a:extLst>
          </p:cNvPr>
          <p:cNvSpPr/>
          <p:nvPr/>
        </p:nvSpPr>
        <p:spPr>
          <a:xfrm>
            <a:off x="6259773" y="2087393"/>
            <a:ext cx="925319" cy="1299411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D3F4FEE0-0D0E-416D-872B-AE601AFB5573}"/>
              </a:ext>
            </a:extLst>
          </p:cNvPr>
          <p:cNvSpPr/>
          <p:nvPr/>
        </p:nvSpPr>
        <p:spPr>
          <a:xfrm>
            <a:off x="1066853" y="1554209"/>
            <a:ext cx="2089976" cy="3139979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A973C814-C330-4420-8326-EE78E6E7BE36}"/>
              </a:ext>
            </a:extLst>
          </p:cNvPr>
          <p:cNvSpPr txBox="1"/>
          <p:nvPr/>
        </p:nvSpPr>
        <p:spPr>
          <a:xfrm>
            <a:off x="3531476" y="2203179"/>
            <a:ext cx="9405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1200" dirty="0">
                <a:solidFill>
                  <a:schemeClr val="bg1"/>
                </a:solidFill>
              </a:rPr>
              <a:t>Relatório de Execução 2022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70DC6A91-5238-4DF8-A448-805FF60C0EC2}"/>
              </a:ext>
            </a:extLst>
          </p:cNvPr>
          <p:cNvSpPr/>
          <p:nvPr/>
        </p:nvSpPr>
        <p:spPr>
          <a:xfrm>
            <a:off x="7548665" y="2087393"/>
            <a:ext cx="925319" cy="1299411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0E9ADCB2-249C-487D-AF96-478CEA99D935}"/>
              </a:ext>
            </a:extLst>
          </p:cNvPr>
          <p:cNvSpPr/>
          <p:nvPr/>
        </p:nvSpPr>
        <p:spPr>
          <a:xfrm>
            <a:off x="3546745" y="3625390"/>
            <a:ext cx="4927239" cy="106879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Prestação de constas – Autoavaliação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Análise dos desvios verificados em relação ao cenário planejado.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06977D2-6239-4DAD-9073-B8A8B51BEF7A}"/>
              </a:ext>
            </a:extLst>
          </p:cNvPr>
          <p:cNvSpPr txBox="1"/>
          <p:nvPr/>
        </p:nvSpPr>
        <p:spPr>
          <a:xfrm>
            <a:off x="3657832" y="1598769"/>
            <a:ext cx="7031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/>
              <a:t>2023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85740FD-808D-4109-92E6-DB82B669F650}"/>
              </a:ext>
            </a:extLst>
          </p:cNvPr>
          <p:cNvSpPr txBox="1"/>
          <p:nvPr/>
        </p:nvSpPr>
        <p:spPr>
          <a:xfrm>
            <a:off x="5024215" y="1554209"/>
            <a:ext cx="7031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/>
              <a:t>2024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3D4B80F9-C551-4AD3-AD2C-7DFE9444EB59}"/>
              </a:ext>
            </a:extLst>
          </p:cNvPr>
          <p:cNvSpPr txBox="1"/>
          <p:nvPr/>
        </p:nvSpPr>
        <p:spPr>
          <a:xfrm>
            <a:off x="6362194" y="1554209"/>
            <a:ext cx="7031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/>
              <a:t>2025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CE0FC0B2-4517-4ABF-9EC6-E3381C2BB959}"/>
              </a:ext>
            </a:extLst>
          </p:cNvPr>
          <p:cNvSpPr txBox="1"/>
          <p:nvPr/>
        </p:nvSpPr>
        <p:spPr>
          <a:xfrm>
            <a:off x="7651087" y="1554209"/>
            <a:ext cx="7031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>
              <a:buNone/>
            </a:pPr>
            <a:r>
              <a:rPr lang="pt-BR" dirty="0"/>
              <a:t>2026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E94618A7-F94D-4213-A9A8-4204F7BBDBAB}"/>
              </a:ext>
            </a:extLst>
          </p:cNvPr>
          <p:cNvSpPr txBox="1"/>
          <p:nvPr/>
        </p:nvSpPr>
        <p:spPr>
          <a:xfrm>
            <a:off x="1017475" y="2425062"/>
            <a:ext cx="20486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2400" dirty="0">
                <a:solidFill>
                  <a:schemeClr val="bg1"/>
                </a:solidFill>
              </a:rPr>
              <a:t>Plano de Exploração</a:t>
            </a:r>
          </a:p>
          <a:p>
            <a:pPr marL="0" indent="0" algn="ctr">
              <a:buNone/>
            </a:pPr>
            <a:r>
              <a:rPr lang="pt-BR" sz="2400" dirty="0">
                <a:solidFill>
                  <a:schemeClr val="bg1"/>
                </a:solidFill>
              </a:rPr>
              <a:t>2022-2039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1D4C7BEB-F91A-4263-B4BF-E560B077812E}"/>
              </a:ext>
            </a:extLst>
          </p:cNvPr>
          <p:cNvSpPr txBox="1"/>
          <p:nvPr/>
        </p:nvSpPr>
        <p:spPr>
          <a:xfrm>
            <a:off x="4895624" y="2203178"/>
            <a:ext cx="9405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1200" dirty="0">
                <a:solidFill>
                  <a:schemeClr val="bg1"/>
                </a:solidFill>
              </a:rPr>
              <a:t>Relatório de Execução 2023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BB4980E8-4228-4C6A-AFFF-4FFB42D4581B}"/>
              </a:ext>
            </a:extLst>
          </p:cNvPr>
          <p:cNvSpPr txBox="1"/>
          <p:nvPr/>
        </p:nvSpPr>
        <p:spPr>
          <a:xfrm>
            <a:off x="6267407" y="2236696"/>
            <a:ext cx="9405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1200" dirty="0">
                <a:solidFill>
                  <a:schemeClr val="bg1"/>
                </a:solidFill>
              </a:rPr>
              <a:t>Relatório de Execução 2024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116E40A-3979-459C-A7CC-1B69BF0C54EE}"/>
              </a:ext>
            </a:extLst>
          </p:cNvPr>
          <p:cNvSpPr txBox="1"/>
          <p:nvPr/>
        </p:nvSpPr>
        <p:spPr>
          <a:xfrm>
            <a:off x="7559334" y="2215675"/>
            <a:ext cx="9405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1200" dirty="0">
                <a:solidFill>
                  <a:schemeClr val="bg1"/>
                </a:solidFill>
              </a:rPr>
              <a:t>Relatório de Execução 2025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9B01F139-856A-4DF5-BDE8-1DEC55BD76D2}"/>
              </a:ext>
            </a:extLst>
          </p:cNvPr>
          <p:cNvSpPr txBox="1"/>
          <p:nvPr/>
        </p:nvSpPr>
        <p:spPr>
          <a:xfrm>
            <a:off x="9069875" y="2425062"/>
            <a:ext cx="20486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sz="2400" dirty="0">
                <a:solidFill>
                  <a:schemeClr val="bg1"/>
                </a:solidFill>
              </a:rPr>
              <a:t>Plano de Exploração</a:t>
            </a:r>
          </a:p>
          <a:p>
            <a:pPr marL="0" indent="0" algn="ctr">
              <a:buNone/>
            </a:pPr>
            <a:r>
              <a:rPr lang="pt-BR" sz="2400" dirty="0">
                <a:solidFill>
                  <a:schemeClr val="bg1"/>
                </a:solidFill>
              </a:rPr>
              <a:t>2026-2045</a:t>
            </a:r>
          </a:p>
        </p:txBody>
      </p:sp>
      <p:pic>
        <p:nvPicPr>
          <p:cNvPr id="9" name="Gráfico 8" descr="Engrenagem única">
            <a:extLst>
              <a:ext uri="{FF2B5EF4-FFF2-40B4-BE49-F238E27FC236}">
                <a16:creationId xmlns:a16="http://schemas.microsoft.com/office/drawing/2014/main" id="{23F3758D-A2FD-51B9-B01E-DD37E895F1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99378" y="4796084"/>
            <a:ext cx="621971" cy="621971"/>
          </a:xfrm>
          <a:prstGeom prst="rect">
            <a:avLst/>
          </a:prstGeom>
        </p:spPr>
      </p:pic>
      <p:sp>
        <p:nvSpPr>
          <p:cNvPr id="31" name="Retângulo 30">
            <a:extLst>
              <a:ext uri="{FF2B5EF4-FFF2-40B4-BE49-F238E27FC236}">
                <a16:creationId xmlns:a16="http://schemas.microsoft.com/office/drawing/2014/main" id="{08109C63-A6A7-B123-1DFA-311DCDD6A3AA}"/>
              </a:ext>
            </a:extLst>
          </p:cNvPr>
          <p:cNvSpPr/>
          <p:nvPr/>
        </p:nvSpPr>
        <p:spPr>
          <a:xfrm>
            <a:off x="1066853" y="5503059"/>
            <a:ext cx="10051720" cy="7625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Revisão a cada 4 an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Revisões extraordinárias (PDSB; PDOT; Planos de Bacia);</a:t>
            </a:r>
          </a:p>
        </p:txBody>
      </p:sp>
      <p:sp>
        <p:nvSpPr>
          <p:cNvPr id="32" name="Espaço Reservado para Número de Slide 29">
            <a:extLst>
              <a:ext uri="{FF2B5EF4-FFF2-40B4-BE49-F238E27FC236}">
                <a16:creationId xmlns:a16="http://schemas.microsoft.com/office/drawing/2014/main" id="{D1AAD862-EC43-DC84-0E6B-692C6FF6298C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1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18DCB197-A4DC-F0E3-5061-698FBF119D7A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33204605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355594-EEAF-49FF-99F0-5035CC8FA526}"/>
              </a:ext>
            </a:extLst>
          </p:cNvPr>
          <p:cNvSpPr txBox="1">
            <a:spLocks/>
          </p:cNvSpPr>
          <p:nvPr/>
        </p:nvSpPr>
        <p:spPr>
          <a:xfrm>
            <a:off x="289188" y="94353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rocesso de Monitoramento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D3F4FEE0-0D0E-416D-872B-AE601AFB5573}"/>
              </a:ext>
            </a:extLst>
          </p:cNvPr>
          <p:cNvSpPr/>
          <p:nvPr/>
        </p:nvSpPr>
        <p:spPr>
          <a:xfrm>
            <a:off x="394290" y="1055549"/>
            <a:ext cx="2089976" cy="5607670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0B26520-B711-4AA0-892C-B543655DE045}"/>
              </a:ext>
            </a:extLst>
          </p:cNvPr>
          <p:cNvSpPr txBox="1"/>
          <p:nvPr/>
        </p:nvSpPr>
        <p:spPr>
          <a:xfrm>
            <a:off x="394290" y="3083179"/>
            <a:ext cx="20434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</a:lvl1pPr>
          </a:lstStyle>
          <a:p>
            <a:pPr marL="0" indent="0" algn="ctr">
              <a:buNone/>
            </a:pPr>
            <a:r>
              <a:rPr lang="pt-BR" dirty="0">
                <a:solidFill>
                  <a:schemeClr val="bg1"/>
                </a:solidFill>
              </a:rPr>
              <a:t>Monitoramento da Execução do Plano de Exploração</a:t>
            </a:r>
          </a:p>
          <a:p>
            <a:pPr marL="0" indent="0" algn="ctr">
              <a:buNone/>
            </a:pPr>
            <a:r>
              <a:rPr lang="pt-BR" dirty="0">
                <a:solidFill>
                  <a:schemeClr val="bg1"/>
                </a:solidFill>
              </a:rPr>
              <a:t>2022-2039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4E142A2D-8BE0-4C5D-97DB-9D9501DED10C}"/>
              </a:ext>
            </a:extLst>
          </p:cNvPr>
          <p:cNvSpPr/>
          <p:nvPr/>
        </p:nvSpPr>
        <p:spPr>
          <a:xfrm>
            <a:off x="3910294" y="2711070"/>
            <a:ext cx="4014506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Qualidade do Serviço (Indicador-Meta-Análise FCA)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7832A0DE-E2BB-4B9A-9719-4C48FAF73783}"/>
              </a:ext>
            </a:extLst>
          </p:cNvPr>
          <p:cNvSpPr/>
          <p:nvPr/>
        </p:nvSpPr>
        <p:spPr>
          <a:xfrm>
            <a:off x="3910294" y="1628707"/>
            <a:ext cx="4014506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Balanço hídrico (Oferta x Demanda) - Indicador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16C37DE-AAAC-480B-81F9-C6FB993BA570}"/>
              </a:ext>
            </a:extLst>
          </p:cNvPr>
          <p:cNvSpPr/>
          <p:nvPr/>
        </p:nvSpPr>
        <p:spPr>
          <a:xfrm>
            <a:off x="3910294" y="2169984"/>
            <a:ext cx="4014506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Cronograma de investimentos (Fiscalização operacional)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5484D6C2-5D58-4250-823F-3209FCB0AC0E}"/>
              </a:ext>
            </a:extLst>
          </p:cNvPr>
          <p:cNvSpPr/>
          <p:nvPr/>
        </p:nvSpPr>
        <p:spPr>
          <a:xfrm>
            <a:off x="3910292" y="4440027"/>
            <a:ext cx="4014507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Cronograma de Investimentos (Fiscalização financeira)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7F349E1F-7656-45A0-8599-D9063CA01E28}"/>
              </a:ext>
            </a:extLst>
          </p:cNvPr>
          <p:cNvSpPr/>
          <p:nvPr/>
        </p:nvSpPr>
        <p:spPr>
          <a:xfrm>
            <a:off x="9078802" y="4087739"/>
            <a:ext cx="2785682" cy="503547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bg1"/>
                </a:solidFill>
                <a:latin typeface="Calibri" panose="020F0502020204030204" pitchFamily="34" charset="0"/>
              </a:rPr>
              <a:t>Revisões do Planejament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F0BB0459-3B8C-4EC0-AF9E-96C86CC72847}"/>
              </a:ext>
            </a:extLst>
          </p:cNvPr>
          <p:cNvSpPr/>
          <p:nvPr/>
        </p:nvSpPr>
        <p:spPr>
          <a:xfrm>
            <a:off x="9078802" y="2460994"/>
            <a:ext cx="2785682" cy="503547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bg1"/>
                </a:solidFill>
                <a:latin typeface="Calibri" panose="020F0502020204030204" pitchFamily="34" charset="0"/>
              </a:rPr>
              <a:t>Aplicação de penalidade</a:t>
            </a:r>
          </a:p>
        </p:txBody>
      </p:sp>
      <p:pic>
        <p:nvPicPr>
          <p:cNvPr id="26" name="Gráfico 25" descr="Setas de divisa">
            <a:extLst>
              <a:ext uri="{FF2B5EF4-FFF2-40B4-BE49-F238E27FC236}">
                <a16:creationId xmlns:a16="http://schemas.microsoft.com/office/drawing/2014/main" id="{794E3C9E-5F66-45CC-A513-34B1C2276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5405" y="3318374"/>
            <a:ext cx="762538" cy="762538"/>
          </a:xfrm>
          <a:prstGeom prst="rect">
            <a:avLst/>
          </a:prstGeom>
        </p:spPr>
      </p:pic>
      <p:sp>
        <p:nvSpPr>
          <p:cNvPr id="27" name="Retângulo 26">
            <a:extLst>
              <a:ext uri="{FF2B5EF4-FFF2-40B4-BE49-F238E27FC236}">
                <a16:creationId xmlns:a16="http://schemas.microsoft.com/office/drawing/2014/main" id="{51526A77-155C-4B15-8B61-B23E76E675DF}"/>
              </a:ext>
            </a:extLst>
          </p:cNvPr>
          <p:cNvSpPr/>
          <p:nvPr/>
        </p:nvSpPr>
        <p:spPr>
          <a:xfrm>
            <a:off x="9078802" y="3293938"/>
            <a:ext cx="2785682" cy="503547"/>
          </a:xfrm>
          <a:prstGeom prst="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bg1"/>
                </a:solidFill>
                <a:latin typeface="Calibri" panose="020F0502020204030204" pitchFamily="34" charset="0"/>
              </a:rPr>
              <a:t>Incentivos financeiros (+/-)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9001693D-A768-A42B-1BA8-E39490271E95}"/>
              </a:ext>
            </a:extLst>
          </p:cNvPr>
          <p:cNvSpPr/>
          <p:nvPr/>
        </p:nvSpPr>
        <p:spPr>
          <a:xfrm>
            <a:off x="2769975" y="1055549"/>
            <a:ext cx="5154825" cy="503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Sustentabilidade Técnica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BDDA78E0-E8D7-BF46-D131-28B3EAF27CA1}"/>
              </a:ext>
            </a:extLst>
          </p:cNvPr>
          <p:cNvSpPr/>
          <p:nvPr/>
        </p:nvSpPr>
        <p:spPr>
          <a:xfrm>
            <a:off x="2769974" y="3829139"/>
            <a:ext cx="5154825" cy="503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Sustentabilidade Econômico-Financeira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8DADD185-3E2B-1BFB-11C4-2CA9F38C8735}"/>
              </a:ext>
            </a:extLst>
          </p:cNvPr>
          <p:cNvSpPr/>
          <p:nvPr/>
        </p:nvSpPr>
        <p:spPr>
          <a:xfrm>
            <a:off x="3910292" y="5026859"/>
            <a:ext cx="4014507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Fluxo de Caixa (Monitoramento da viabilidade)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F82BCC97-D27F-8A12-27E5-F8EBA4A2B310}"/>
              </a:ext>
            </a:extLst>
          </p:cNvPr>
          <p:cNvSpPr/>
          <p:nvPr/>
        </p:nvSpPr>
        <p:spPr>
          <a:xfrm>
            <a:off x="3910291" y="5613021"/>
            <a:ext cx="4014507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Indicadores Financeiros (Liquidez, endividamento, rentabilidade, despesa com pessoal)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914096D6-E5BB-560C-C5CF-82F3C7AE901C}"/>
              </a:ext>
            </a:extLst>
          </p:cNvPr>
          <p:cNvSpPr/>
          <p:nvPr/>
        </p:nvSpPr>
        <p:spPr>
          <a:xfrm>
            <a:off x="3910291" y="6156985"/>
            <a:ext cx="4014507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Auditoria e Certificação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9C6B5251-8DEB-4A28-2FC6-D05463BB30CF}"/>
              </a:ext>
            </a:extLst>
          </p:cNvPr>
          <p:cNvSpPr/>
          <p:nvPr/>
        </p:nvSpPr>
        <p:spPr>
          <a:xfrm>
            <a:off x="3910294" y="3258608"/>
            <a:ext cx="4014506" cy="503547"/>
          </a:xfrm>
          <a:prstGeom prst="rect">
            <a:avLst/>
          </a:prstGeom>
          <a:solidFill>
            <a:srgbClr val="0088C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400" dirty="0">
                <a:solidFill>
                  <a:schemeClr val="bg1"/>
                </a:solidFill>
                <a:latin typeface="Calibri" panose="020F0502020204030204" pitchFamily="34" charset="0"/>
              </a:rPr>
              <a:t>Auditoria e Certificação</a:t>
            </a:r>
          </a:p>
        </p:txBody>
      </p:sp>
      <p:sp>
        <p:nvSpPr>
          <p:cNvPr id="28" name="Espaço Reservado para Número de Slide 29">
            <a:extLst>
              <a:ext uri="{FF2B5EF4-FFF2-40B4-BE49-F238E27FC236}">
                <a16:creationId xmlns:a16="http://schemas.microsoft.com/office/drawing/2014/main" id="{0BC07D98-1C30-188A-47F5-34BD870F95B2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2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DCB5010E-3305-2E20-D9C2-7E03A76B762F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76019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AD94288A-1441-4F4A-B21F-AA67030ADFA2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0" y="-3"/>
            <a:ext cx="12236966" cy="6858001"/>
          </a:xfrm>
          <a:prstGeom prst="rect">
            <a:avLst/>
          </a:prstGeom>
        </p:spPr>
      </p:pic>
      <p:sp>
        <p:nvSpPr>
          <p:cNvPr id="3" name="Título 4">
            <a:extLst>
              <a:ext uri="{FF2B5EF4-FFF2-40B4-BE49-F238E27FC236}">
                <a16:creationId xmlns:a16="http://schemas.microsoft.com/office/drawing/2014/main" id="{6AEEEACC-18BE-4E1D-8A2A-91B0D667E70F}"/>
              </a:ext>
            </a:extLst>
          </p:cNvPr>
          <p:cNvSpPr txBox="1">
            <a:spLocks/>
          </p:cNvSpPr>
          <p:nvPr/>
        </p:nvSpPr>
        <p:spPr>
          <a:xfrm>
            <a:off x="1147045" y="1596943"/>
            <a:ext cx="9699603" cy="366411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5400" b="1" dirty="0">
                <a:solidFill>
                  <a:schemeClr val="bg1"/>
                </a:solidFill>
              </a:rPr>
              <a:t>O</a:t>
            </a:r>
            <a:r>
              <a:rPr lang="pt-BR" sz="5200" b="1" dirty="0">
                <a:solidFill>
                  <a:schemeClr val="bg1"/>
                </a:solidFill>
              </a:rPr>
              <a:t>brigado!</a:t>
            </a:r>
            <a:br>
              <a:rPr lang="pt-BR" sz="3200" dirty="0">
                <a:solidFill>
                  <a:schemeClr val="bg1"/>
                </a:solidFill>
              </a:rPr>
            </a:br>
            <a:endParaRPr lang="pt-BR" sz="32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</a:rPr>
              <a:t>Adalto Clímaco Ribeiro</a:t>
            </a:r>
            <a:br>
              <a:rPr lang="pt-BR" sz="3200" dirty="0">
                <a:solidFill>
                  <a:schemeClr val="bg1"/>
                </a:solidFill>
              </a:rPr>
            </a:br>
            <a:endParaRPr lang="pt-BR" sz="2400" b="1" dirty="0">
              <a:solidFill>
                <a:schemeClr val="bg1"/>
              </a:solidFill>
              <a:cs typeface="Calibri Light"/>
            </a:endParaRPr>
          </a:p>
          <a:p>
            <a:r>
              <a:rPr lang="pt-BR" sz="2400" b="1" dirty="0">
                <a:solidFill>
                  <a:schemeClr val="bg1"/>
                </a:solidFill>
              </a:rPr>
              <a:t>Superintendência de Abastecimento de Água e de Esgoto</a:t>
            </a:r>
            <a:br>
              <a:rPr lang="pt-BR" sz="2400" b="1" dirty="0">
                <a:solidFill>
                  <a:schemeClr val="bg1"/>
                </a:solidFill>
              </a:rPr>
            </a:br>
            <a:r>
              <a:rPr lang="pt-BR" sz="2400" b="1" dirty="0">
                <a:solidFill>
                  <a:schemeClr val="bg1"/>
                </a:solidFill>
              </a:rPr>
              <a:t>ADASA – Agência Reguladora de Águas, Energia e Saneamento Básico do DF</a:t>
            </a:r>
            <a:br>
              <a:rPr lang="pt-BR" sz="2400" b="1" dirty="0">
                <a:solidFill>
                  <a:schemeClr val="bg1"/>
                </a:solidFill>
              </a:rPr>
            </a:br>
            <a:endParaRPr lang="pt-BR" sz="2400" b="1" dirty="0">
              <a:solidFill>
                <a:schemeClr val="bg1"/>
              </a:solidFill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9686B76-0FB2-8231-8103-A6A37D16E838}"/>
              </a:ext>
            </a:extLst>
          </p:cNvPr>
          <p:cNvSpPr txBox="1"/>
          <p:nvPr/>
        </p:nvSpPr>
        <p:spPr>
          <a:xfrm>
            <a:off x="2214927" y="5261054"/>
            <a:ext cx="62179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ntribuições:</a:t>
            </a:r>
          </a:p>
          <a:p>
            <a:r>
              <a:rPr lang="pt-BR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p-005-2022@adasa.df.gov.br, até as 18h do dia 13 de novembro de 2022</a:t>
            </a:r>
          </a:p>
        </p:txBody>
      </p:sp>
    </p:spTree>
    <p:extLst>
      <p:ext uri="{BB962C8B-B14F-4D97-AF65-F5344CB8AC3E}">
        <p14:creationId xmlns:p14="http://schemas.microsoft.com/office/powerpoint/2010/main" val="3565559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4</a:t>
            </a:fld>
            <a:endParaRPr lang="pt-BR" sz="360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007C9D10-7F15-1584-2E32-229E2BE551B5}"/>
              </a:ext>
            </a:extLst>
          </p:cNvPr>
          <p:cNvSpPr txBox="1">
            <a:spLocks/>
          </p:cNvSpPr>
          <p:nvPr/>
        </p:nvSpPr>
        <p:spPr>
          <a:xfrm>
            <a:off x="2698498" y="145969"/>
            <a:ext cx="7477230" cy="750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Balanço Hídric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51FD873-5A45-AE87-3036-339FAD365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2" y="723041"/>
            <a:ext cx="12178176" cy="604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2056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1306284" y="284558"/>
            <a:ext cx="10098594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Comparativo da População Por RA 2020-2039 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5BC9EC0-B6DF-4176-B508-7B3C6B9EDFEE}"/>
              </a:ext>
            </a:extLst>
          </p:cNvPr>
          <p:cNvSpPr txBox="1"/>
          <p:nvPr/>
        </p:nvSpPr>
        <p:spPr>
          <a:xfrm>
            <a:off x="2969460" y="5922986"/>
            <a:ext cx="7191591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400" dirty="0"/>
              <a:t>Incremento de: 890 mil hab. (28%) = 44 mil hab./ano </a:t>
            </a:r>
          </a:p>
        </p:txBody>
      </p:sp>
      <p:sp>
        <p:nvSpPr>
          <p:cNvPr id="6" name="Espaço Reservado para Número de Slide 29">
            <a:extLst>
              <a:ext uri="{FF2B5EF4-FFF2-40B4-BE49-F238E27FC236}">
                <a16:creationId xmlns:a16="http://schemas.microsoft.com/office/drawing/2014/main" id="{085C873F-16AB-3466-F158-7BAD72A9B9C5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5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C1D93D1B-AB63-4EE3-26A0-C1303834662B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74F4F4FE-5499-46EF-9F18-52E19C2DCB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5265008"/>
              </p:ext>
            </p:extLst>
          </p:nvPr>
        </p:nvGraphicFramePr>
        <p:xfrm>
          <a:off x="1306284" y="1084071"/>
          <a:ext cx="9866212" cy="4523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534329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457200" y="470874"/>
            <a:ext cx="11493500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Balanço entre Demanda x Disponibilidade 2020-2039</a:t>
            </a:r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13CBED06-34F8-4E7D-A50D-C28B6D81D3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3877366"/>
              </p:ext>
            </p:extLst>
          </p:nvPr>
        </p:nvGraphicFramePr>
        <p:xfrm>
          <a:off x="804147" y="1332805"/>
          <a:ext cx="10583705" cy="5054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4719F9AA-70B0-8451-9BA7-F471F3030AE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6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8C10E4F-8064-9748-0291-568955F241CF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31023862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37AB493F-0E2E-40A9-A026-03416B0AE8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8812943"/>
              </p:ext>
            </p:extLst>
          </p:nvPr>
        </p:nvGraphicFramePr>
        <p:xfrm>
          <a:off x="1211691" y="1177158"/>
          <a:ext cx="10426262" cy="4992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ítulo 1">
            <a:extLst>
              <a:ext uri="{FF2B5EF4-FFF2-40B4-BE49-F238E27FC236}">
                <a16:creationId xmlns:a16="http://schemas.microsoft.com/office/drawing/2014/main" id="{4622D851-8F6C-346B-FAB9-E591AA1647DA}"/>
              </a:ext>
            </a:extLst>
          </p:cNvPr>
          <p:cNvSpPr txBox="1">
            <a:spLocks/>
          </p:cNvSpPr>
          <p:nvPr/>
        </p:nvSpPr>
        <p:spPr>
          <a:xfrm>
            <a:off x="1211691" y="381716"/>
            <a:ext cx="10098594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Validação da projeção da demanda 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8E664FEE-3336-28E5-6506-DDE44EB30AEB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7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542F40C-3E99-643E-916D-B5D012A5F6FA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9438697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2A0375ED-2CDA-4D3E-8758-3993482AFBC3}"/>
              </a:ext>
            </a:extLst>
          </p:cNvPr>
          <p:cNvSpPr txBox="1">
            <a:spLocks/>
          </p:cNvSpPr>
          <p:nvPr/>
        </p:nvSpPr>
        <p:spPr>
          <a:xfrm>
            <a:off x="1491341" y="284356"/>
            <a:ext cx="9534211" cy="11555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sz="3000" dirty="0"/>
              <a:t>Evolução anual da demanda x capacidade instalada (2020-2039)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E1F65878-D73F-4C15-895C-C16FDAE41C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7344169"/>
              </p:ext>
            </p:extLst>
          </p:nvPr>
        </p:nvGraphicFramePr>
        <p:xfrm>
          <a:off x="1491342" y="1439917"/>
          <a:ext cx="9534211" cy="4775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31382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E5A02-0C77-47A0-99F4-BFA27B6A6CD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45343" y="216051"/>
            <a:ext cx="9778179" cy="750976"/>
          </a:xfrm>
        </p:spPr>
        <p:txBody>
          <a:bodyPr>
            <a:noAutofit/>
          </a:bodyPr>
          <a:lstStyle/>
          <a:p>
            <a:pPr algn="ctr"/>
            <a:r>
              <a:rPr lang="pt-BR" sz="3200" b="1" dirty="0">
                <a:latin typeface="Century Gothic" panose="020B0502020202020204" pitchFamily="34" charset="0"/>
              </a:rPr>
              <a:t>Proporção anual dos investimentos(2022 a 2039)</a:t>
            </a:r>
          </a:p>
        </p:txBody>
      </p:sp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29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31C0DF8B-24AF-4CF4-9C90-5530D36D7E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119237"/>
              </p:ext>
            </p:extLst>
          </p:nvPr>
        </p:nvGraphicFramePr>
        <p:xfrm>
          <a:off x="451515" y="1037582"/>
          <a:ext cx="11288969" cy="5264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36261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4">
            <a:extLst>
              <a:ext uri="{FF2B5EF4-FFF2-40B4-BE49-F238E27FC236}">
                <a16:creationId xmlns:a16="http://schemas.microsoft.com/office/drawing/2014/main" id="{9357AC2C-A976-E15C-C4CE-163B67611454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sz="3000" b="1" dirty="0">
                <a:latin typeface="Century Gothic" panose="020B0502020202020204" pitchFamily="34" charset="0"/>
              </a:rPr>
              <a:t>INTERFACE COM O PLANO DE SANEAMENTO BÁSICO</a:t>
            </a: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4EBC2A95-51F0-DC50-C583-E9306A3BD143}"/>
              </a:ext>
            </a:extLst>
          </p:cNvPr>
          <p:cNvSpPr/>
          <p:nvPr/>
        </p:nvSpPr>
        <p:spPr>
          <a:xfrm>
            <a:off x="1765777" y="763753"/>
            <a:ext cx="3141349" cy="1882653"/>
          </a:xfrm>
          <a:prstGeom prst="round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pt-BR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PLANO DE SANEAMENTO (PDSB)</a:t>
            </a: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7497057F-BC0E-1DEB-73E4-812482EDAF62}"/>
              </a:ext>
            </a:extLst>
          </p:cNvPr>
          <p:cNvSpPr/>
          <p:nvPr/>
        </p:nvSpPr>
        <p:spPr>
          <a:xfrm>
            <a:off x="6413082" y="683641"/>
            <a:ext cx="3409938" cy="2532952"/>
          </a:xfrm>
          <a:prstGeom prst="roundRect">
            <a:avLst/>
          </a:prstGeom>
          <a:solidFill>
            <a:srgbClr val="0088C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Century Gothic" panose="020B0502020202020204" pitchFamily="34" charset="0"/>
              </a:rPr>
              <a:t>PLANO DE EXPLORAÇÃO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E25AE159-C4E7-B628-2A96-29B17FFF1A21}"/>
              </a:ext>
            </a:extLst>
          </p:cNvPr>
          <p:cNvSpPr/>
          <p:nvPr/>
        </p:nvSpPr>
        <p:spPr>
          <a:xfrm>
            <a:off x="1787349" y="2820658"/>
            <a:ext cx="3098203" cy="3810269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laborado pelo </a:t>
            </a: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titular</a:t>
            </a: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dos serviços, com </a:t>
            </a: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mpla</a:t>
            </a: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participação </a:t>
            </a: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da sociedade;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Diretrizes e estratégias para a </a:t>
            </a: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universalização</a:t>
            </a: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;</a:t>
            </a:r>
            <a:endParaRPr lang="pt-BR" sz="1400" dirty="0">
              <a:solidFill>
                <a:schemeClr val="tx1"/>
              </a:solidFill>
              <a:latin typeface="Century Gothic" panose="020B0502020202020204" pitchFamily="34" charset="0"/>
              <a:cs typeface="Calibri"/>
            </a:endParaRP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Engloba os 4 componentes do saneamento básico;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Aprovado por </a:t>
            </a:r>
            <a:r>
              <a:rPr lang="pt-BR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Lei</a:t>
            </a: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(6.454/2019)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tx1"/>
                </a:solidFill>
                <a:latin typeface="Century Gothic" panose="020B0502020202020204" pitchFamily="34" charset="0"/>
                <a:cs typeface="Calibri"/>
              </a:rPr>
              <a:t>Horizonte de 20 anos  e revisado em até 10 anos (de acordo com o Novo Marco Regulatório do Saneamento)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DA2E99E5-0F09-F73D-A330-497A4F7E7FFC}"/>
              </a:ext>
            </a:extLst>
          </p:cNvPr>
          <p:cNvSpPr/>
          <p:nvPr/>
        </p:nvSpPr>
        <p:spPr>
          <a:xfrm>
            <a:off x="6457682" y="3415322"/>
            <a:ext cx="3320737" cy="318884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Elaborado pela  Caesb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, a partir de diretrizes da Adasa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Incorpora as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diretrizes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e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ções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do PDSB e da Adasa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presenta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ções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para os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padrões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e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indicadores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 definidos pela Adasa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provado pela </a:t>
            </a:r>
            <a:r>
              <a:rPr lang="pt-BR" sz="1400" b="1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dasa</a:t>
            </a: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Horizonte de 20 anos e revisão a cada 4.</a:t>
            </a:r>
          </a:p>
        </p:txBody>
      </p:sp>
      <p:pic>
        <p:nvPicPr>
          <p:cNvPr id="11" name="Gráfico 10" descr="Ciclo com pessoas">
            <a:extLst>
              <a:ext uri="{FF2B5EF4-FFF2-40B4-BE49-F238E27FC236}">
                <a16:creationId xmlns:a16="http://schemas.microsoft.com/office/drawing/2014/main" id="{175AA507-83D3-B066-C102-73377A6A6F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39674" y="768145"/>
            <a:ext cx="656398" cy="656398"/>
          </a:xfrm>
          <a:prstGeom prst="rect">
            <a:avLst/>
          </a:prstGeom>
        </p:spPr>
      </p:pic>
      <p:pic>
        <p:nvPicPr>
          <p:cNvPr id="12" name="Gráfico 11" descr="Alvo">
            <a:extLst>
              <a:ext uri="{FF2B5EF4-FFF2-40B4-BE49-F238E27FC236}">
                <a16:creationId xmlns:a16="http://schemas.microsoft.com/office/drawing/2014/main" id="{17AE69D7-80A9-BE75-18F6-E7364E1CF4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25937" y="882370"/>
            <a:ext cx="548807" cy="548807"/>
          </a:xfrm>
          <a:prstGeom prst="rect">
            <a:avLst/>
          </a:prstGeom>
        </p:spPr>
      </p:pic>
      <p:pic>
        <p:nvPicPr>
          <p:cNvPr id="13" name="Gráfico 12" descr="Engrenagem única">
            <a:extLst>
              <a:ext uri="{FF2B5EF4-FFF2-40B4-BE49-F238E27FC236}">
                <a16:creationId xmlns:a16="http://schemas.microsoft.com/office/drawing/2014/main" id="{DE16F09A-5156-1800-24E9-7A06387FAA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84036" y="840026"/>
            <a:ext cx="644947" cy="644947"/>
          </a:xfrm>
          <a:prstGeom prst="rect">
            <a:avLst/>
          </a:prstGeom>
        </p:spPr>
      </p:pic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F492ACCD-A308-993F-3912-A180C1F2DD32}"/>
              </a:ext>
            </a:extLst>
          </p:cNvPr>
          <p:cNvCxnSpPr>
            <a:cxnSpLocks/>
            <a:stCxn id="7" idx="2"/>
            <a:endCxn id="10" idx="0"/>
          </p:cNvCxnSpPr>
          <p:nvPr/>
        </p:nvCxnSpPr>
        <p:spPr>
          <a:xfrm>
            <a:off x="8118051" y="3216593"/>
            <a:ext cx="0" cy="198729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B8DED263-6BA7-866D-86EE-E2B676DFBA67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 flipH="1">
            <a:off x="3336451" y="2646406"/>
            <a:ext cx="1" cy="17425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1" name="Gráfico 20" descr="Seta circular">
            <a:extLst>
              <a:ext uri="{FF2B5EF4-FFF2-40B4-BE49-F238E27FC236}">
                <a16:creationId xmlns:a16="http://schemas.microsoft.com/office/drawing/2014/main" id="{1593FE84-C9EC-F407-E7A9-9356EBF165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14156" y="2826054"/>
            <a:ext cx="799369" cy="799369"/>
          </a:xfrm>
          <a:prstGeom prst="rect">
            <a:avLst/>
          </a:prstGeom>
        </p:spPr>
      </p:pic>
      <p:pic>
        <p:nvPicPr>
          <p:cNvPr id="23" name="Gráfico 22" descr="Ciclo com pessoas">
            <a:extLst>
              <a:ext uri="{FF2B5EF4-FFF2-40B4-BE49-F238E27FC236}">
                <a16:creationId xmlns:a16="http://schemas.microsoft.com/office/drawing/2014/main" id="{5671E7BA-09BE-83AE-C8DF-BBA3D5D2CD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68178" y="816914"/>
            <a:ext cx="656398" cy="656398"/>
          </a:xfrm>
          <a:prstGeom prst="rect">
            <a:avLst/>
          </a:prstGeom>
        </p:spPr>
      </p:pic>
      <p:pic>
        <p:nvPicPr>
          <p:cNvPr id="24" name="Gráfico 23" descr="Alvo">
            <a:extLst>
              <a:ext uri="{FF2B5EF4-FFF2-40B4-BE49-F238E27FC236}">
                <a16:creationId xmlns:a16="http://schemas.microsoft.com/office/drawing/2014/main" id="{3BAF00A1-7ACB-FC26-F5D4-6BEE739555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37272" y="821941"/>
            <a:ext cx="548807" cy="548807"/>
          </a:xfrm>
          <a:prstGeom prst="rect">
            <a:avLst/>
          </a:prstGeom>
        </p:spPr>
      </p:pic>
      <p:sp>
        <p:nvSpPr>
          <p:cNvPr id="30" name="Espaço Reservado para Número de Slide 29">
            <a:extLst>
              <a:ext uri="{FF2B5EF4-FFF2-40B4-BE49-F238E27FC236}">
                <a16:creationId xmlns:a16="http://schemas.microsoft.com/office/drawing/2014/main" id="{D834FA57-FAD4-19BF-6858-7CBA900A3949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F709EAD9-6C1C-2E87-3E10-CEE48908240A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40745861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0</a:t>
            </a:fld>
            <a:endParaRPr lang="pt-BR" sz="360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E6228ED-8AC6-4B6C-813F-8068F8BDEF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2619" y="1610125"/>
            <a:ext cx="7312209" cy="4415743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474F0334-A29C-4182-85A2-39ED9BC9EFD0}"/>
              </a:ext>
            </a:extLst>
          </p:cNvPr>
          <p:cNvSpPr txBox="1"/>
          <p:nvPr/>
        </p:nvSpPr>
        <p:spPr>
          <a:xfrm>
            <a:off x="698464" y="1441042"/>
            <a:ext cx="10161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Century Gothic" panose="020B0502020202020204" pitchFamily="34" charset="0"/>
              </a:rPr>
              <a:t>Matriz de Risco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616FFB36-32A6-4791-9EB2-B2D9FA6A2A0C}"/>
              </a:ext>
            </a:extLst>
          </p:cNvPr>
          <p:cNvSpPr txBox="1">
            <a:spLocks/>
          </p:cNvSpPr>
          <p:nvPr/>
        </p:nvSpPr>
        <p:spPr>
          <a:xfrm>
            <a:off x="482996" y="178346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</p:spTree>
    <p:extLst>
      <p:ext uri="{BB962C8B-B14F-4D97-AF65-F5344CB8AC3E}">
        <p14:creationId xmlns:p14="http://schemas.microsoft.com/office/powerpoint/2010/main" val="28666451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1</a:t>
            </a:fld>
            <a:endParaRPr lang="pt-BR" sz="360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007C9D10-7F15-1584-2E32-229E2BE551B5}"/>
              </a:ext>
            </a:extLst>
          </p:cNvPr>
          <p:cNvSpPr txBox="1">
            <a:spLocks/>
          </p:cNvSpPr>
          <p:nvPr/>
        </p:nvSpPr>
        <p:spPr>
          <a:xfrm>
            <a:off x="482996" y="178346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50325CFC-9A76-41AF-AE8F-2B0F7FF1D4ED}"/>
              </a:ext>
            </a:extLst>
          </p:cNvPr>
          <p:cNvSpPr txBox="1"/>
          <p:nvPr/>
        </p:nvSpPr>
        <p:spPr>
          <a:xfrm>
            <a:off x="1607607" y="1249018"/>
            <a:ext cx="90178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Century Gothic" panose="020B0502020202020204" pitchFamily="34" charset="0"/>
              </a:rPr>
              <a:t>Fatores de insegurança com risco sério ou crítico</a:t>
            </a:r>
          </a:p>
        </p:txBody>
      </p:sp>
      <p:sp>
        <p:nvSpPr>
          <p:cNvPr id="11" name="Retângulo de cantos arredondados 1">
            <a:extLst>
              <a:ext uri="{FF2B5EF4-FFF2-40B4-BE49-F238E27FC236}">
                <a16:creationId xmlns:a16="http://schemas.microsoft.com/office/drawing/2014/main" id="{0654D811-BD68-44C2-A45C-B703F2E8B004}"/>
              </a:ext>
            </a:extLst>
          </p:cNvPr>
          <p:cNvSpPr/>
          <p:nvPr/>
        </p:nvSpPr>
        <p:spPr>
          <a:xfrm>
            <a:off x="1607609" y="1818400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Estiagem prolongada </a:t>
            </a:r>
          </a:p>
        </p:txBody>
      </p:sp>
      <p:sp>
        <p:nvSpPr>
          <p:cNvPr id="12" name="Retângulo de cantos arredondados 1">
            <a:extLst>
              <a:ext uri="{FF2B5EF4-FFF2-40B4-BE49-F238E27FC236}">
                <a16:creationId xmlns:a16="http://schemas.microsoft.com/office/drawing/2014/main" id="{CBCCB4C1-0594-448A-9A0E-553422043475}"/>
              </a:ext>
            </a:extLst>
          </p:cNvPr>
          <p:cNvSpPr/>
          <p:nvPr/>
        </p:nvSpPr>
        <p:spPr>
          <a:xfrm>
            <a:off x="1607608" y="2828566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Ocupação irregular do solo</a:t>
            </a:r>
          </a:p>
        </p:txBody>
      </p:sp>
      <p:sp>
        <p:nvSpPr>
          <p:cNvPr id="13" name="Retângulo de cantos arredondados 1">
            <a:extLst>
              <a:ext uri="{FF2B5EF4-FFF2-40B4-BE49-F238E27FC236}">
                <a16:creationId xmlns:a16="http://schemas.microsoft.com/office/drawing/2014/main" id="{EFD5FD10-EDBB-4D9C-9A2D-59D36464598F}"/>
              </a:ext>
            </a:extLst>
          </p:cNvPr>
          <p:cNvSpPr/>
          <p:nvPr/>
        </p:nvSpPr>
        <p:spPr>
          <a:xfrm>
            <a:off x="1607608" y="3855124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Acidentes no transporte de cargas perigosas </a:t>
            </a:r>
          </a:p>
        </p:txBody>
      </p:sp>
      <p:sp>
        <p:nvSpPr>
          <p:cNvPr id="14" name="Retângulo de cantos arredondados 1">
            <a:extLst>
              <a:ext uri="{FF2B5EF4-FFF2-40B4-BE49-F238E27FC236}">
                <a16:creationId xmlns:a16="http://schemas.microsoft.com/office/drawing/2014/main" id="{6F3B7549-1C62-4DF9-83E5-84FA500A84B2}"/>
              </a:ext>
            </a:extLst>
          </p:cNvPr>
          <p:cNvSpPr/>
          <p:nvPr/>
        </p:nvSpPr>
        <p:spPr>
          <a:xfrm>
            <a:off x="1607607" y="4846202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Incêndios florestais </a:t>
            </a:r>
            <a:endParaRPr lang="pt-BR" altLang="pt-BR" b="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tângulo de cantos arredondados 1">
            <a:extLst>
              <a:ext uri="{FF2B5EF4-FFF2-40B4-BE49-F238E27FC236}">
                <a16:creationId xmlns:a16="http://schemas.microsoft.com/office/drawing/2014/main" id="{7605DCDC-6A58-4029-8648-6C4F045374C4}"/>
              </a:ext>
            </a:extLst>
          </p:cNvPr>
          <p:cNvSpPr/>
          <p:nvPr/>
        </p:nvSpPr>
        <p:spPr>
          <a:xfrm>
            <a:off x="4708158" y="1818400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Envelhecimento de estruturas</a:t>
            </a:r>
          </a:p>
        </p:txBody>
      </p:sp>
      <p:sp>
        <p:nvSpPr>
          <p:cNvPr id="16" name="Retângulo de cantos arredondados 1">
            <a:extLst>
              <a:ext uri="{FF2B5EF4-FFF2-40B4-BE49-F238E27FC236}">
                <a16:creationId xmlns:a16="http://schemas.microsoft.com/office/drawing/2014/main" id="{45FD3D66-4788-45D0-8D49-D6AF6E8D12A5}"/>
              </a:ext>
            </a:extLst>
          </p:cNvPr>
          <p:cNvSpPr/>
          <p:nvPr/>
        </p:nvSpPr>
        <p:spPr>
          <a:xfrm>
            <a:off x="4708158" y="2828566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Vandalismo/</a:t>
            </a:r>
          </a:p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Sabotagem </a:t>
            </a:r>
          </a:p>
        </p:txBody>
      </p:sp>
      <p:sp>
        <p:nvSpPr>
          <p:cNvPr id="17" name="Retângulo de cantos arredondados 1">
            <a:extLst>
              <a:ext uri="{FF2B5EF4-FFF2-40B4-BE49-F238E27FC236}">
                <a16:creationId xmlns:a16="http://schemas.microsoft.com/office/drawing/2014/main" id="{7A4D5B5A-2632-43B7-8483-8BE423C53461}"/>
              </a:ext>
            </a:extLst>
          </p:cNvPr>
          <p:cNvSpPr/>
          <p:nvPr/>
        </p:nvSpPr>
        <p:spPr>
          <a:xfrm>
            <a:off x="4708158" y="3855124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Inversão Térmica</a:t>
            </a:r>
          </a:p>
        </p:txBody>
      </p:sp>
      <p:sp>
        <p:nvSpPr>
          <p:cNvPr id="18" name="Retângulo de cantos arredondados 1">
            <a:extLst>
              <a:ext uri="{FF2B5EF4-FFF2-40B4-BE49-F238E27FC236}">
                <a16:creationId xmlns:a16="http://schemas.microsoft.com/office/drawing/2014/main" id="{6343ECD4-446C-49BE-9462-FB12FAF81CB4}"/>
              </a:ext>
            </a:extLst>
          </p:cNvPr>
          <p:cNvSpPr/>
          <p:nvPr/>
        </p:nvSpPr>
        <p:spPr>
          <a:xfrm>
            <a:off x="4708157" y="4846202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Invasão por macrófitas</a:t>
            </a:r>
          </a:p>
        </p:txBody>
      </p:sp>
      <p:sp>
        <p:nvSpPr>
          <p:cNvPr id="19" name="Retângulo de cantos arredondados 1">
            <a:extLst>
              <a:ext uri="{FF2B5EF4-FFF2-40B4-BE49-F238E27FC236}">
                <a16:creationId xmlns:a16="http://schemas.microsoft.com/office/drawing/2014/main" id="{C339C5A5-E6C5-403A-BA40-F931F6673DDD}"/>
              </a:ext>
            </a:extLst>
          </p:cNvPr>
          <p:cNvSpPr/>
          <p:nvPr/>
        </p:nvSpPr>
        <p:spPr>
          <a:xfrm>
            <a:off x="7808707" y="1818400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Falha no fornecimento de energia elétrica </a:t>
            </a:r>
          </a:p>
        </p:txBody>
      </p:sp>
      <p:sp>
        <p:nvSpPr>
          <p:cNvPr id="20" name="Retângulo de cantos arredondados 1">
            <a:extLst>
              <a:ext uri="{FF2B5EF4-FFF2-40B4-BE49-F238E27FC236}">
                <a16:creationId xmlns:a16="http://schemas.microsoft.com/office/drawing/2014/main" id="{72921FFD-DCE2-467E-89D9-C1FACA09EE44}"/>
              </a:ext>
            </a:extLst>
          </p:cNvPr>
          <p:cNvSpPr/>
          <p:nvPr/>
        </p:nvSpPr>
        <p:spPr>
          <a:xfrm>
            <a:off x="7808707" y="2828566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Falha de Manutenção </a:t>
            </a:r>
          </a:p>
        </p:txBody>
      </p:sp>
      <p:sp>
        <p:nvSpPr>
          <p:cNvPr id="21" name="Retângulo de cantos arredondados 1">
            <a:extLst>
              <a:ext uri="{FF2B5EF4-FFF2-40B4-BE49-F238E27FC236}">
                <a16:creationId xmlns:a16="http://schemas.microsoft.com/office/drawing/2014/main" id="{A2919DD2-0559-4794-B5B3-1B1B130A03FA}"/>
              </a:ext>
            </a:extLst>
          </p:cNvPr>
          <p:cNvSpPr/>
          <p:nvPr/>
        </p:nvSpPr>
        <p:spPr>
          <a:xfrm>
            <a:off x="7808706" y="3855124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Greve de Empregados da Caesb</a:t>
            </a:r>
          </a:p>
        </p:txBody>
      </p:sp>
      <p:sp>
        <p:nvSpPr>
          <p:cNvPr id="22" name="Retângulo de cantos arredondados 1">
            <a:extLst>
              <a:ext uri="{FF2B5EF4-FFF2-40B4-BE49-F238E27FC236}">
                <a16:creationId xmlns:a16="http://schemas.microsoft.com/office/drawing/2014/main" id="{6183CA42-E989-44E2-8A9C-6A2D44D3668D}"/>
              </a:ext>
            </a:extLst>
          </p:cNvPr>
          <p:cNvSpPr/>
          <p:nvPr/>
        </p:nvSpPr>
        <p:spPr>
          <a:xfrm>
            <a:off x="7808706" y="4846202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Uso indevido da rede</a:t>
            </a:r>
          </a:p>
        </p:txBody>
      </p:sp>
      <p:sp>
        <p:nvSpPr>
          <p:cNvPr id="25" name="Shape 3759">
            <a:extLst>
              <a:ext uri="{FF2B5EF4-FFF2-40B4-BE49-F238E27FC236}">
                <a16:creationId xmlns:a16="http://schemas.microsoft.com/office/drawing/2014/main" id="{254A43A9-EB6A-3A63-16FB-6BA816B16580}"/>
              </a:ext>
            </a:extLst>
          </p:cNvPr>
          <p:cNvSpPr/>
          <p:nvPr/>
        </p:nvSpPr>
        <p:spPr>
          <a:xfrm>
            <a:off x="1607607" y="6068565"/>
            <a:ext cx="3631561" cy="467104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1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tal: 62/99 (62%)</a:t>
            </a:r>
          </a:p>
        </p:txBody>
      </p:sp>
    </p:spTree>
    <p:extLst>
      <p:ext uri="{BB962C8B-B14F-4D97-AF65-F5344CB8AC3E}">
        <p14:creationId xmlns:p14="http://schemas.microsoft.com/office/powerpoint/2010/main" val="33208960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175975-9155-4054-883B-7851DB5CC55A}"/>
              </a:ext>
            </a:extLst>
          </p:cNvPr>
          <p:cNvSpPr txBox="1">
            <a:spLocks/>
          </p:cNvSpPr>
          <p:nvPr/>
        </p:nvSpPr>
        <p:spPr>
          <a:xfrm>
            <a:off x="425429" y="254220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A782A80-5C81-4081-A5F0-2B862999CF96}"/>
              </a:ext>
            </a:extLst>
          </p:cNvPr>
          <p:cNvSpPr txBox="1"/>
          <p:nvPr/>
        </p:nvSpPr>
        <p:spPr>
          <a:xfrm>
            <a:off x="1507998" y="1395694"/>
            <a:ext cx="79147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Century Gothic" panose="020B0502020202020204" pitchFamily="34" charset="0"/>
              </a:rPr>
              <a:t>Efeitos adversos dos fatores de insegurança com risco sério ou crítico </a:t>
            </a:r>
          </a:p>
        </p:txBody>
      </p:sp>
      <p:sp>
        <p:nvSpPr>
          <p:cNvPr id="4" name="Retângulo de cantos arredondados 1">
            <a:extLst>
              <a:ext uri="{FF2B5EF4-FFF2-40B4-BE49-F238E27FC236}">
                <a16:creationId xmlns:a16="http://schemas.microsoft.com/office/drawing/2014/main" id="{637D9DAF-8D63-4889-9852-4959E7E769EE}"/>
              </a:ext>
            </a:extLst>
          </p:cNvPr>
          <p:cNvSpPr/>
          <p:nvPr/>
        </p:nvSpPr>
        <p:spPr>
          <a:xfrm>
            <a:off x="1507999" y="2479085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Inutilização de manancial</a:t>
            </a:r>
          </a:p>
        </p:txBody>
      </p:sp>
      <p:sp>
        <p:nvSpPr>
          <p:cNvPr id="5" name="Retângulo de cantos arredondados 1">
            <a:extLst>
              <a:ext uri="{FF2B5EF4-FFF2-40B4-BE49-F238E27FC236}">
                <a16:creationId xmlns:a16="http://schemas.microsoft.com/office/drawing/2014/main" id="{F25595E4-EE7A-466B-9E55-130624F62855}"/>
              </a:ext>
            </a:extLst>
          </p:cNvPr>
          <p:cNvSpPr/>
          <p:nvPr/>
        </p:nvSpPr>
        <p:spPr>
          <a:xfrm>
            <a:off x="1507999" y="3567815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Contaminação da água</a:t>
            </a:r>
          </a:p>
        </p:txBody>
      </p:sp>
      <p:sp>
        <p:nvSpPr>
          <p:cNvPr id="6" name="Retângulo de cantos arredondados 1">
            <a:extLst>
              <a:ext uri="{FF2B5EF4-FFF2-40B4-BE49-F238E27FC236}">
                <a16:creationId xmlns:a16="http://schemas.microsoft.com/office/drawing/2014/main" id="{8EB1F5D1-5BAD-4285-99BE-3B567BE1DB9E}"/>
              </a:ext>
            </a:extLst>
          </p:cNvPr>
          <p:cNvSpPr/>
          <p:nvPr/>
        </p:nvSpPr>
        <p:spPr>
          <a:xfrm>
            <a:off x="1507999" y="4656545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Assoreamento por Erosão</a:t>
            </a:r>
          </a:p>
        </p:txBody>
      </p:sp>
      <p:sp>
        <p:nvSpPr>
          <p:cNvPr id="7" name="Retângulo de cantos arredondados 1">
            <a:extLst>
              <a:ext uri="{FF2B5EF4-FFF2-40B4-BE49-F238E27FC236}">
                <a16:creationId xmlns:a16="http://schemas.microsoft.com/office/drawing/2014/main" id="{17296499-8A0D-4B4A-86BD-D155FADCD836}"/>
              </a:ext>
            </a:extLst>
          </p:cNvPr>
          <p:cNvSpPr/>
          <p:nvPr/>
        </p:nvSpPr>
        <p:spPr>
          <a:xfrm>
            <a:off x="4650592" y="2467090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Eutrofização</a:t>
            </a:r>
          </a:p>
        </p:txBody>
      </p:sp>
      <p:sp>
        <p:nvSpPr>
          <p:cNvPr id="8" name="Retângulo de cantos arredondados 1">
            <a:extLst>
              <a:ext uri="{FF2B5EF4-FFF2-40B4-BE49-F238E27FC236}">
                <a16:creationId xmlns:a16="http://schemas.microsoft.com/office/drawing/2014/main" id="{A9477958-F9E7-4B67-AF86-E9C40B821991}"/>
              </a:ext>
            </a:extLst>
          </p:cNvPr>
          <p:cNvSpPr/>
          <p:nvPr/>
        </p:nvSpPr>
        <p:spPr>
          <a:xfrm>
            <a:off x="4650592" y="3579810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 Rompimento de Estrutura </a:t>
            </a:r>
          </a:p>
        </p:txBody>
      </p:sp>
      <p:sp>
        <p:nvSpPr>
          <p:cNvPr id="9" name="Retângulo de cantos arredondados 1">
            <a:extLst>
              <a:ext uri="{FF2B5EF4-FFF2-40B4-BE49-F238E27FC236}">
                <a16:creationId xmlns:a16="http://schemas.microsoft.com/office/drawing/2014/main" id="{D0A3F69A-8E76-42B5-8DEC-1228E79BDF49}"/>
              </a:ext>
            </a:extLst>
          </p:cNvPr>
          <p:cNvSpPr/>
          <p:nvPr/>
        </p:nvSpPr>
        <p:spPr>
          <a:xfrm>
            <a:off x="4650591" y="4656544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Interrupção de bombeamento </a:t>
            </a:r>
          </a:p>
        </p:txBody>
      </p:sp>
      <p:sp>
        <p:nvSpPr>
          <p:cNvPr id="10" name="Retângulo de cantos arredondados 1">
            <a:extLst>
              <a:ext uri="{FF2B5EF4-FFF2-40B4-BE49-F238E27FC236}">
                <a16:creationId xmlns:a16="http://schemas.microsoft.com/office/drawing/2014/main" id="{4D812E05-4FB3-4575-BC32-E46EFA1133E3}"/>
              </a:ext>
            </a:extLst>
          </p:cNvPr>
          <p:cNvSpPr/>
          <p:nvPr/>
        </p:nvSpPr>
        <p:spPr>
          <a:xfrm>
            <a:off x="7793185" y="2467089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Colapso operacional do sistema </a:t>
            </a:r>
          </a:p>
        </p:txBody>
      </p:sp>
      <p:sp>
        <p:nvSpPr>
          <p:cNvPr id="11" name="Retângulo de cantos arredondados 1">
            <a:extLst>
              <a:ext uri="{FF2B5EF4-FFF2-40B4-BE49-F238E27FC236}">
                <a16:creationId xmlns:a16="http://schemas.microsoft.com/office/drawing/2014/main" id="{6CC83B53-06D4-4CF0-A5ED-E4764E0D2BD9}"/>
              </a:ext>
            </a:extLst>
          </p:cNvPr>
          <p:cNvSpPr/>
          <p:nvPr/>
        </p:nvSpPr>
        <p:spPr>
          <a:xfrm>
            <a:off x="7793185" y="3567814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Vazamento de produtos químicos</a:t>
            </a:r>
          </a:p>
        </p:txBody>
      </p:sp>
      <p:sp>
        <p:nvSpPr>
          <p:cNvPr id="12" name="Retângulo de cantos arredondados 1">
            <a:extLst>
              <a:ext uri="{FF2B5EF4-FFF2-40B4-BE49-F238E27FC236}">
                <a16:creationId xmlns:a16="http://schemas.microsoft.com/office/drawing/2014/main" id="{D2E18402-6D67-4D7D-B94F-918CAEEFC2BF}"/>
              </a:ext>
            </a:extLst>
          </p:cNvPr>
          <p:cNvSpPr/>
          <p:nvPr/>
        </p:nvSpPr>
        <p:spPr>
          <a:xfrm>
            <a:off x="7793185" y="4656543"/>
            <a:ext cx="2890817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Extravasamento de esgoto </a:t>
            </a:r>
          </a:p>
        </p:txBody>
      </p:sp>
      <p:sp>
        <p:nvSpPr>
          <p:cNvPr id="13" name="Espaço Reservado para Número de Slide 29">
            <a:extLst>
              <a:ext uri="{FF2B5EF4-FFF2-40B4-BE49-F238E27FC236}">
                <a16:creationId xmlns:a16="http://schemas.microsoft.com/office/drawing/2014/main" id="{716D5358-0E9E-3100-BF98-4FF1BD3ABD87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2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2888A227-DDEE-DFBF-0234-DF88B88736A9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15" name="Shape 3759">
            <a:extLst>
              <a:ext uri="{FF2B5EF4-FFF2-40B4-BE49-F238E27FC236}">
                <a16:creationId xmlns:a16="http://schemas.microsoft.com/office/drawing/2014/main" id="{61884ED6-6332-B17D-CFB8-CA814C61D38B}"/>
              </a:ext>
            </a:extLst>
          </p:cNvPr>
          <p:cNvSpPr/>
          <p:nvPr/>
        </p:nvSpPr>
        <p:spPr>
          <a:xfrm>
            <a:off x="1507998" y="5835013"/>
            <a:ext cx="3631561" cy="467104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1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tal: 23 efeitos adversos</a:t>
            </a:r>
          </a:p>
        </p:txBody>
      </p:sp>
    </p:spTree>
    <p:extLst>
      <p:ext uri="{BB962C8B-B14F-4D97-AF65-F5344CB8AC3E}">
        <p14:creationId xmlns:p14="http://schemas.microsoft.com/office/powerpoint/2010/main" val="725797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EE0BDE90-ED7F-2751-A77F-2DD8FC15AA1F}"/>
              </a:ext>
            </a:extLst>
          </p:cNvPr>
          <p:cNvSpPr/>
          <p:nvPr/>
        </p:nvSpPr>
        <p:spPr>
          <a:xfrm>
            <a:off x="1198180" y="2525425"/>
            <a:ext cx="10161658" cy="3150162"/>
          </a:xfrm>
          <a:prstGeom prst="rect">
            <a:avLst/>
          </a:prstGeom>
          <a:solidFill>
            <a:srgbClr val="0088C2"/>
          </a:solidFill>
          <a:ln>
            <a:solidFill>
              <a:srgbClr val="0088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88C2"/>
              </a:solidFill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ACB2CA6-B88A-452E-AB95-04C5DC499517}"/>
              </a:ext>
            </a:extLst>
          </p:cNvPr>
          <p:cNvSpPr txBox="1"/>
          <p:nvPr/>
        </p:nvSpPr>
        <p:spPr>
          <a:xfrm>
            <a:off x="1198180" y="3090243"/>
            <a:ext cx="10053855" cy="1667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"/>
            </a:pP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aliação das vulnerabilidades dos sistemas;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"/>
            </a:pP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ação de ações em situações de contingenciais </a:t>
            </a:r>
            <a:r>
              <a:rPr lang="pt-BR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caráter preventivo)</a:t>
            </a: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742950" lvl="1" indent="-285750" algn="just">
              <a:lnSpc>
                <a:spcPct val="200000"/>
              </a:lnSpc>
              <a:buFont typeface="Wingdings" panose="05000000000000000000" pitchFamily="2" charset="2"/>
              <a:buChar char=""/>
            </a:pP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racionalização do plano em situações </a:t>
            </a:r>
            <a:r>
              <a:rPr lang="pt-BR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ergenciais (</a:t>
            </a: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caráter corretivo)</a:t>
            </a:r>
            <a:r>
              <a:rPr lang="pt-BR" b="1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C8C66EB-7275-4422-AA8B-EB0D4F456143}"/>
              </a:ext>
            </a:extLst>
          </p:cNvPr>
          <p:cNvSpPr txBox="1"/>
          <p:nvPr/>
        </p:nvSpPr>
        <p:spPr>
          <a:xfrm>
            <a:off x="482996" y="1467469"/>
            <a:ext cx="10161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>
                <a:latin typeface="Century Gothic" panose="020B0502020202020204" pitchFamily="34" charset="0"/>
              </a:rPr>
              <a:t>Planos de escopo específicos (PPRD)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5BA5D8EF-CB64-4BCD-96A8-4F3463A99A01}"/>
              </a:ext>
            </a:extLst>
          </p:cNvPr>
          <p:cNvSpPr txBox="1">
            <a:spLocks/>
          </p:cNvSpPr>
          <p:nvPr/>
        </p:nvSpPr>
        <p:spPr>
          <a:xfrm>
            <a:off x="482996" y="178346"/>
            <a:ext cx="11341139" cy="12020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nálise do Plano de Contingência e Emergência</a:t>
            </a:r>
          </a:p>
        </p:txBody>
      </p:sp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4377BDF8-BE9D-5D35-6AFE-696BC7D9AAF5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3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7FC82DA-7826-7B13-BD89-EF334A663616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1541160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835" y="135611"/>
            <a:ext cx="10515600" cy="1220715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Ajustes no Plano </a:t>
            </a:r>
            <a:r>
              <a:rPr lang="pt-BR" sz="3600" b="1">
                <a:latin typeface="Century Gothic" panose="020B0502020202020204" pitchFamily="34" charset="0"/>
              </a:rPr>
              <a:t>Solicitados pela </a:t>
            </a:r>
            <a:r>
              <a:rPr lang="pt-BR" sz="3600" b="1" dirty="0">
                <a:latin typeface="Century Gothic" panose="020B0502020202020204" pitchFamily="34" charset="0"/>
              </a:rPr>
              <a:t>Adasa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4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624B0E1-362A-C626-A184-486C8D7C440E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Shape 3759">
            <a:extLst>
              <a:ext uri="{FF2B5EF4-FFF2-40B4-BE49-F238E27FC236}">
                <a16:creationId xmlns:a16="http://schemas.microsoft.com/office/drawing/2014/main" id="{7195285C-3542-A827-AA4A-C350A3900554}"/>
              </a:ext>
            </a:extLst>
          </p:cNvPr>
          <p:cNvSpPr/>
          <p:nvPr/>
        </p:nvSpPr>
        <p:spPr>
          <a:xfrm>
            <a:off x="257408" y="1572432"/>
            <a:ext cx="2367399" cy="1220715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ersão 01</a:t>
            </a:r>
            <a:endParaRPr sz="28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9" name="Shape 3759">
            <a:extLst>
              <a:ext uri="{FF2B5EF4-FFF2-40B4-BE49-F238E27FC236}">
                <a16:creationId xmlns:a16="http://schemas.microsoft.com/office/drawing/2014/main" id="{1630CC61-9947-9A90-E987-510179539BE0}"/>
              </a:ext>
            </a:extLst>
          </p:cNvPr>
          <p:cNvSpPr/>
          <p:nvPr/>
        </p:nvSpPr>
        <p:spPr>
          <a:xfrm>
            <a:off x="3296684" y="2182789"/>
            <a:ext cx="2367399" cy="1220715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ersão 02</a:t>
            </a:r>
            <a:endParaRPr sz="28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" name="Shape 3759">
            <a:extLst>
              <a:ext uri="{FF2B5EF4-FFF2-40B4-BE49-F238E27FC236}">
                <a16:creationId xmlns:a16="http://schemas.microsoft.com/office/drawing/2014/main" id="{9CD55E83-29CD-BA88-116F-F9F30F4559E8}"/>
              </a:ext>
            </a:extLst>
          </p:cNvPr>
          <p:cNvSpPr/>
          <p:nvPr/>
        </p:nvSpPr>
        <p:spPr>
          <a:xfrm>
            <a:off x="6447971" y="3108553"/>
            <a:ext cx="2367399" cy="1220715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ersão 03</a:t>
            </a:r>
            <a:endParaRPr sz="28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" name="Shape 3759">
            <a:extLst>
              <a:ext uri="{FF2B5EF4-FFF2-40B4-BE49-F238E27FC236}">
                <a16:creationId xmlns:a16="http://schemas.microsoft.com/office/drawing/2014/main" id="{B70C7B9D-D1A2-E383-FA98-B2152E703221}"/>
              </a:ext>
            </a:extLst>
          </p:cNvPr>
          <p:cNvSpPr/>
          <p:nvPr/>
        </p:nvSpPr>
        <p:spPr>
          <a:xfrm>
            <a:off x="9594958" y="3852219"/>
            <a:ext cx="2367399" cy="1220715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ersão 04</a:t>
            </a:r>
            <a:endParaRPr sz="28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3" name="Gráfico 12" descr="Engrenagem única">
            <a:extLst>
              <a:ext uri="{FF2B5EF4-FFF2-40B4-BE49-F238E27FC236}">
                <a16:creationId xmlns:a16="http://schemas.microsoft.com/office/drawing/2014/main" id="{3BB67DA5-8D27-C959-E041-5A84CA20E8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32145" y="2458234"/>
            <a:ext cx="457200" cy="457200"/>
          </a:xfrm>
          <a:prstGeom prst="rect">
            <a:avLst/>
          </a:prstGeom>
        </p:spPr>
      </p:pic>
      <p:pic>
        <p:nvPicPr>
          <p:cNvPr id="14" name="Gráfico 13" descr="Engrenagem única">
            <a:extLst>
              <a:ext uri="{FF2B5EF4-FFF2-40B4-BE49-F238E27FC236}">
                <a16:creationId xmlns:a16="http://schemas.microsoft.com/office/drawing/2014/main" id="{0192ADCD-94A1-0277-DF8D-95BBCB0779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29577" y="3073072"/>
            <a:ext cx="457200" cy="457200"/>
          </a:xfrm>
          <a:prstGeom prst="rect">
            <a:avLst/>
          </a:prstGeom>
        </p:spPr>
      </p:pic>
      <p:pic>
        <p:nvPicPr>
          <p:cNvPr id="15" name="Gráfico 14" descr="Engrenagem única">
            <a:extLst>
              <a:ext uri="{FF2B5EF4-FFF2-40B4-BE49-F238E27FC236}">
                <a16:creationId xmlns:a16="http://schemas.microsoft.com/office/drawing/2014/main" id="{FB5B0473-3D9D-4DBA-5FF8-190E2150C5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00150" y="4030606"/>
            <a:ext cx="457200" cy="457200"/>
          </a:xfrm>
          <a:prstGeom prst="rect">
            <a:avLst/>
          </a:prstGeom>
        </p:spPr>
      </p:pic>
      <p:sp>
        <p:nvSpPr>
          <p:cNvPr id="16" name="Espaço Reservado para Conteúdo 2">
            <a:extLst>
              <a:ext uri="{FF2B5EF4-FFF2-40B4-BE49-F238E27FC236}">
                <a16:creationId xmlns:a16="http://schemas.microsoft.com/office/drawing/2014/main" id="{5D32F2EC-8795-4439-0D7B-C215C40FC1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7408" y="2814374"/>
            <a:ext cx="2367398" cy="63923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ago/2021</a:t>
            </a:r>
          </a:p>
        </p:txBody>
      </p:sp>
      <p:sp>
        <p:nvSpPr>
          <p:cNvPr id="17" name="Espaço Reservado para Conteúdo 2">
            <a:extLst>
              <a:ext uri="{FF2B5EF4-FFF2-40B4-BE49-F238E27FC236}">
                <a16:creationId xmlns:a16="http://schemas.microsoft.com/office/drawing/2014/main" id="{87BAF3DC-9F32-AD4B-BC40-E37D8670A6A0}"/>
              </a:ext>
            </a:extLst>
          </p:cNvPr>
          <p:cNvSpPr txBox="1">
            <a:spLocks/>
          </p:cNvSpPr>
          <p:nvPr/>
        </p:nvSpPr>
        <p:spPr>
          <a:xfrm>
            <a:off x="3296685" y="3412453"/>
            <a:ext cx="2367398" cy="639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out/2021</a:t>
            </a:r>
          </a:p>
        </p:txBody>
      </p:sp>
      <p:sp>
        <p:nvSpPr>
          <p:cNvPr id="18" name="Espaço Reservado para Conteúdo 2">
            <a:extLst>
              <a:ext uri="{FF2B5EF4-FFF2-40B4-BE49-F238E27FC236}">
                <a16:creationId xmlns:a16="http://schemas.microsoft.com/office/drawing/2014/main" id="{8111C770-87FB-B6E6-5DBD-C26C50273A66}"/>
              </a:ext>
            </a:extLst>
          </p:cNvPr>
          <p:cNvSpPr txBox="1">
            <a:spLocks/>
          </p:cNvSpPr>
          <p:nvPr/>
        </p:nvSpPr>
        <p:spPr>
          <a:xfrm>
            <a:off x="6447972" y="4339018"/>
            <a:ext cx="2367398" cy="639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nov/2021</a:t>
            </a:r>
          </a:p>
        </p:txBody>
      </p:sp>
      <p:sp>
        <p:nvSpPr>
          <p:cNvPr id="19" name="Espaço Reservado para Conteúdo 2">
            <a:extLst>
              <a:ext uri="{FF2B5EF4-FFF2-40B4-BE49-F238E27FC236}">
                <a16:creationId xmlns:a16="http://schemas.microsoft.com/office/drawing/2014/main" id="{30CE6A04-3E7E-F545-7F0D-A604A19DF105}"/>
              </a:ext>
            </a:extLst>
          </p:cNvPr>
          <p:cNvSpPr txBox="1">
            <a:spLocks/>
          </p:cNvSpPr>
          <p:nvPr/>
        </p:nvSpPr>
        <p:spPr>
          <a:xfrm>
            <a:off x="9594959" y="5066783"/>
            <a:ext cx="2367398" cy="6392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mar/2022</a:t>
            </a:r>
          </a:p>
        </p:txBody>
      </p:sp>
    </p:spTree>
    <p:extLst>
      <p:ext uri="{BB962C8B-B14F-4D97-AF65-F5344CB8AC3E}">
        <p14:creationId xmlns:p14="http://schemas.microsoft.com/office/powerpoint/2010/main" val="30089827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29">
            <a:extLst>
              <a:ext uri="{FF2B5EF4-FFF2-40B4-BE49-F238E27FC236}">
                <a16:creationId xmlns:a16="http://schemas.microsoft.com/office/drawing/2014/main" id="{E292A0B3-B003-434E-96AC-F708F95501AA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5</a:t>
            </a:fld>
            <a:endParaRPr lang="pt-BR" sz="3600">
              <a:solidFill>
                <a:srgbClr val="00B0F0"/>
              </a:solidFill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D0B942A6-E3C5-4D12-9570-15B7BB709F90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007C9D10-7F15-1584-2E32-229E2BE551B5}"/>
              </a:ext>
            </a:extLst>
          </p:cNvPr>
          <p:cNvSpPr txBox="1">
            <a:spLocks/>
          </p:cNvSpPr>
          <p:nvPr/>
        </p:nvSpPr>
        <p:spPr>
          <a:xfrm>
            <a:off x="2698498" y="145969"/>
            <a:ext cx="7477230" cy="750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Balanço Hídric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222A777-44F3-0A33-BC1D-0DF6036B9FDB}"/>
              </a:ext>
            </a:extLst>
          </p:cNvPr>
          <p:cNvSpPr txBox="1"/>
          <p:nvPr/>
        </p:nvSpPr>
        <p:spPr>
          <a:xfrm>
            <a:off x="1015171" y="1020757"/>
            <a:ext cx="10161657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atin typeface="Century Gothic" panose="020B0502020202020204" pitchFamily="34" charset="0"/>
              </a:rPr>
              <a:t>Estimativas de Oferta e Demanda</a:t>
            </a:r>
          </a:p>
          <a:p>
            <a:endParaRPr lang="pt-BR" sz="2000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Century Gothic" panose="020B0502020202020204" pitchFamily="34" charset="0"/>
              </a:rPr>
              <a:t>Oferta: Calculada uma </a:t>
            </a:r>
            <a:r>
              <a:rPr lang="pt-BR" b="1" dirty="0">
                <a:latin typeface="Century Gothic" panose="020B0502020202020204" pitchFamily="34" charset="0"/>
              </a:rPr>
              <a:t>vazão de operação</a:t>
            </a:r>
            <a:r>
              <a:rPr lang="pt-BR" dirty="0">
                <a:latin typeface="Century Gothic" panose="020B0502020202020204" pitchFamily="34" charset="0"/>
              </a:rPr>
              <a:t>, obtida a partir das </a:t>
            </a:r>
            <a:r>
              <a:rPr lang="pt-BR" b="1" dirty="0">
                <a:latin typeface="Century Gothic" panose="020B0502020202020204" pitchFamily="34" charset="0"/>
              </a:rPr>
              <a:t>vazões máximas outorgadas</a:t>
            </a:r>
            <a:r>
              <a:rPr lang="pt-BR" dirty="0">
                <a:latin typeface="Century Gothic" panose="020B0502020202020204" pitchFamily="34" charset="0"/>
              </a:rPr>
              <a:t> para o mês de </a:t>
            </a:r>
            <a:r>
              <a:rPr lang="pt-BR" b="1" dirty="0">
                <a:latin typeface="Century Gothic" panose="020B0502020202020204" pitchFamily="34" charset="0"/>
              </a:rPr>
              <a:t>setembro</a:t>
            </a:r>
            <a:endParaRPr lang="pt-BR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Century Gothic" panose="020B0502020202020204" pitchFamily="34" charset="0"/>
              </a:rPr>
              <a:t>Demanda: Utilizadas vazões de consumo do cenário possível do estudo do Plano Distrital de Saneamento Básico (PDSB);</a:t>
            </a:r>
          </a:p>
        </p:txBody>
      </p:sp>
      <p:sp>
        <p:nvSpPr>
          <p:cNvPr id="10" name="Shape 3759">
            <a:extLst>
              <a:ext uri="{FF2B5EF4-FFF2-40B4-BE49-F238E27FC236}">
                <a16:creationId xmlns:a16="http://schemas.microsoft.com/office/drawing/2014/main" id="{AFE973D1-E603-C52A-182F-A4E3785AFF61}"/>
              </a:ext>
            </a:extLst>
          </p:cNvPr>
          <p:cNvSpPr/>
          <p:nvPr/>
        </p:nvSpPr>
        <p:spPr>
          <a:xfrm>
            <a:off x="494574" y="4405040"/>
            <a:ext cx="2367399" cy="1024476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0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ISTEMAS PRODUTORES</a:t>
            </a:r>
            <a:endParaRPr sz="20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1" name="Gráfico 10" descr="Setas de divisa">
            <a:extLst>
              <a:ext uri="{FF2B5EF4-FFF2-40B4-BE49-F238E27FC236}">
                <a16:creationId xmlns:a16="http://schemas.microsoft.com/office/drawing/2014/main" id="{B519D7B8-9502-197E-3A9F-4C77909253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25504" y="4532294"/>
            <a:ext cx="769968" cy="769968"/>
          </a:xfrm>
          <a:prstGeom prst="rect">
            <a:avLst/>
          </a:prstGeom>
        </p:spPr>
      </p:pic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CF297CA7-19B9-6414-D81F-9E20A4C195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432260"/>
              </p:ext>
            </p:extLst>
          </p:nvPr>
        </p:nvGraphicFramePr>
        <p:xfrm>
          <a:off x="4204776" y="3843660"/>
          <a:ext cx="7581985" cy="224599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676477">
                  <a:extLst>
                    <a:ext uri="{9D8B030D-6E8A-4147-A177-3AD203B41FA5}">
                      <a16:colId xmlns:a16="http://schemas.microsoft.com/office/drawing/2014/main" val="888464176"/>
                    </a:ext>
                  </a:extLst>
                </a:gridCol>
                <a:gridCol w="1431991">
                  <a:extLst>
                    <a:ext uri="{9D8B030D-6E8A-4147-A177-3AD203B41FA5}">
                      <a16:colId xmlns:a16="http://schemas.microsoft.com/office/drawing/2014/main" val="2909191664"/>
                    </a:ext>
                  </a:extLst>
                </a:gridCol>
                <a:gridCol w="1353406">
                  <a:extLst>
                    <a:ext uri="{9D8B030D-6E8A-4147-A177-3AD203B41FA5}">
                      <a16:colId xmlns:a16="http://schemas.microsoft.com/office/drawing/2014/main" val="3718625116"/>
                    </a:ext>
                  </a:extLst>
                </a:gridCol>
                <a:gridCol w="1187505">
                  <a:extLst>
                    <a:ext uri="{9D8B030D-6E8A-4147-A177-3AD203B41FA5}">
                      <a16:colId xmlns:a16="http://schemas.microsoft.com/office/drawing/2014/main" val="2696150555"/>
                    </a:ext>
                  </a:extLst>
                </a:gridCol>
                <a:gridCol w="943018">
                  <a:extLst>
                    <a:ext uri="{9D8B030D-6E8A-4147-A177-3AD203B41FA5}">
                      <a16:colId xmlns:a16="http://schemas.microsoft.com/office/drawing/2014/main" val="2361867827"/>
                    </a:ext>
                  </a:extLst>
                </a:gridCol>
                <a:gridCol w="989588">
                  <a:extLst>
                    <a:ext uri="{9D8B030D-6E8A-4147-A177-3AD203B41FA5}">
                      <a16:colId xmlns:a16="http://schemas.microsoft.com/office/drawing/2014/main" val="608078077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orto-Santa Maria-Bananal (8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escoberto-Corumbá (12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obradinho-Planaltina (4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anoá Norte (4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aranoá Sul (2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razlândia (1)</a:t>
                      </a:r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88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425891"/>
                  </a:ext>
                </a:extLst>
              </a:tr>
              <a:tr h="1819275"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Plano Piloto, Cruzeiro, Lago Sul, Sodoeste/Octogonal, SCIA-Estrutural, SIA, Guará, Vicente Pire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Gama, Taguatinga, Núcleo Bandeirante, Ceilândia,  Samambaia, Santa Maria, Recanto das Emas, Riacho Fundo I, Riacho Fundo II, Candangolândia, Água Claras, Park Way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Sobradinho II, Fercal, Sobradinho, Planaltin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Paranoá, Lago Norte, Varjão, Itapoã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200" u="none" strike="noStrike" dirty="0">
                          <a:effectLst/>
                        </a:rPr>
                        <a:t> São Sebastião, Jardim Botânic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u="none" strike="noStrike" dirty="0">
                          <a:effectLst/>
                        </a:rPr>
                        <a:t>Brazlândi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20771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1162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62A9C3BE-14FE-4CDD-AE74-255675980F04}"/>
              </a:ext>
            </a:extLst>
          </p:cNvPr>
          <p:cNvSpPr txBox="1">
            <a:spLocks/>
          </p:cNvSpPr>
          <p:nvPr/>
        </p:nvSpPr>
        <p:spPr>
          <a:xfrm>
            <a:off x="1550738" y="419910"/>
            <a:ext cx="9534211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Índice de comprometimento da capacidade instalada - Icci (%)  2020-2039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1511A79A-A019-55A1-6126-21271C7A4C8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6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8583532-E6C2-E621-EBD9-B195F24C40D3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29418352-A7DE-41FE-8D9E-1FD3E51EE8E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0753319"/>
              </p:ext>
            </p:extLst>
          </p:nvPr>
        </p:nvGraphicFramePr>
        <p:xfrm>
          <a:off x="1375117" y="1332607"/>
          <a:ext cx="9885455" cy="4788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409601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A1A4CB-2C99-6C01-0562-47822655F7C0}"/>
              </a:ext>
            </a:extLst>
          </p:cNvPr>
          <p:cNvSpPr txBox="1">
            <a:spLocks/>
          </p:cNvSpPr>
          <p:nvPr/>
        </p:nvSpPr>
        <p:spPr>
          <a:xfrm>
            <a:off x="1611983" y="117530"/>
            <a:ext cx="9534211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Áreas de Atendimento (Expansão/Melhorias)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D5B1BC5-F0E9-A028-0CDD-0406D917F9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957" y="673892"/>
            <a:ext cx="8110086" cy="5800836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7BADA3D8-1C5D-AC94-9282-8183FBBD6439}"/>
              </a:ext>
            </a:extLst>
          </p:cNvPr>
          <p:cNvSpPr txBox="1"/>
          <p:nvPr/>
        </p:nvSpPr>
        <p:spPr>
          <a:xfrm>
            <a:off x="227688" y="751974"/>
            <a:ext cx="1636235" cy="398223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>
            <a:defPPr>
              <a:defRPr lang="pt-BR"/>
            </a:defPPr>
            <a:lvl1pPr algn="ctr" defTabSz="584200">
              <a:lnSpc>
                <a:spcPct val="100000"/>
              </a:lnSpc>
              <a:spcBef>
                <a:spcPts val="0"/>
              </a:spcBef>
              <a:defRPr sz="2000" cap="all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r>
              <a:rPr lang="pt-BR" dirty="0"/>
              <a:t>Água (53)</a:t>
            </a:r>
          </a:p>
        </p:txBody>
      </p:sp>
    </p:spTree>
    <p:extLst>
      <p:ext uri="{BB962C8B-B14F-4D97-AF65-F5344CB8AC3E}">
        <p14:creationId xmlns:p14="http://schemas.microsoft.com/office/powerpoint/2010/main" val="232141893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A1A4CB-2C99-6C01-0562-47822655F7C0}"/>
              </a:ext>
            </a:extLst>
          </p:cNvPr>
          <p:cNvSpPr txBox="1">
            <a:spLocks/>
          </p:cNvSpPr>
          <p:nvPr/>
        </p:nvSpPr>
        <p:spPr>
          <a:xfrm>
            <a:off x="1611983" y="117530"/>
            <a:ext cx="9534211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Áreas de Atendimento (Expansão/Melhorias)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8F5A9A67-266F-092C-6BEF-1D87B8CEB4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103" y="756483"/>
            <a:ext cx="7729793" cy="550868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678665CB-8536-6E2A-2325-BA9CC19EDF7D}"/>
              </a:ext>
            </a:extLst>
          </p:cNvPr>
          <p:cNvSpPr txBox="1"/>
          <p:nvPr/>
        </p:nvSpPr>
        <p:spPr>
          <a:xfrm>
            <a:off x="371240" y="752980"/>
            <a:ext cx="1636235" cy="398223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>
            <a:defPPr>
              <a:defRPr lang="pt-BR"/>
            </a:defPPr>
            <a:lvl1pPr algn="ctr" defTabSz="584200">
              <a:lnSpc>
                <a:spcPct val="100000"/>
              </a:lnSpc>
              <a:spcBef>
                <a:spcPts val="0"/>
              </a:spcBef>
              <a:defRPr sz="2000" cap="all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r>
              <a:rPr lang="pt-BR" dirty="0"/>
              <a:t>Esgoto (61)</a:t>
            </a:r>
          </a:p>
        </p:txBody>
      </p:sp>
    </p:spTree>
    <p:extLst>
      <p:ext uri="{BB962C8B-B14F-4D97-AF65-F5344CB8AC3E}">
        <p14:creationId xmlns:p14="http://schemas.microsoft.com/office/powerpoint/2010/main" val="2981149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FB780B-1391-545B-8B3E-AC0ECC685CCC}"/>
              </a:ext>
            </a:extLst>
          </p:cNvPr>
          <p:cNvSpPr txBox="1">
            <a:spLocks/>
          </p:cNvSpPr>
          <p:nvPr/>
        </p:nvSpPr>
        <p:spPr>
          <a:xfrm>
            <a:off x="604684" y="117711"/>
            <a:ext cx="11326761" cy="7625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Planejamento da Avaliação e Execução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6E627CB4-305F-44DE-A41A-8AE714507B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7026502"/>
              </p:ext>
            </p:extLst>
          </p:nvPr>
        </p:nvGraphicFramePr>
        <p:xfrm>
          <a:off x="772753" y="1046213"/>
          <a:ext cx="10863724" cy="5354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Espaço Reservado para Número de Slide 29">
            <a:extLst>
              <a:ext uri="{FF2B5EF4-FFF2-40B4-BE49-F238E27FC236}">
                <a16:creationId xmlns:a16="http://schemas.microsoft.com/office/drawing/2014/main" id="{9D7A087B-3B18-1EEA-3859-EE0C78004453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39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FAF55C4C-F264-814C-92F1-385713B641CA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</p:spTree>
    <p:extLst>
      <p:ext uri="{BB962C8B-B14F-4D97-AF65-F5344CB8AC3E}">
        <p14:creationId xmlns:p14="http://schemas.microsoft.com/office/powerpoint/2010/main" val="1928055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376" y="20983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pt-BR" sz="3200" b="1" dirty="0">
                <a:latin typeface="Century Gothic" panose="020B0502020202020204" pitchFamily="34" charset="0"/>
              </a:rPr>
              <a:t>Estrutura do Plano de Exploração </a:t>
            </a:r>
            <a:br>
              <a:rPr lang="pt-BR" sz="3200" b="1" dirty="0">
                <a:latin typeface="Century Gothic" panose="020B0502020202020204" pitchFamily="34" charset="0"/>
              </a:rPr>
            </a:br>
            <a:r>
              <a:rPr lang="pt-BR" sz="3200" b="1" dirty="0">
                <a:latin typeface="Century Gothic" panose="020B0502020202020204" pitchFamily="34" charset="0"/>
              </a:rPr>
              <a:t>Apresentado pela Caesb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04BA596-B4F6-8B23-9460-E96EDA8B44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4082" y="1604054"/>
            <a:ext cx="6388274" cy="476505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1 Estruturação e Implantação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2 Diagnóstico e Caracterização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3 Plano de Expansão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4 Plano de Operação e Manutenção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5 Plano de Contingência e Emergência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latin typeface="Century Gothic" panose="020B0502020202020204" pitchFamily="34" charset="0"/>
              </a:rPr>
              <a:t>6 Planejamento e Avaliação da Execução do Plano</a:t>
            </a:r>
          </a:p>
          <a:p>
            <a:endParaRPr lang="pt-BR" dirty="0"/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4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624B0E1-362A-C626-A184-486C8D7C440E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030819CD-29B8-3E7B-9B12-298856686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224" y="1604054"/>
            <a:ext cx="4359363" cy="47650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906783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835" y="135611"/>
            <a:ext cx="10515600" cy="1220715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latin typeface="Century Gothic" panose="020B0502020202020204" pitchFamily="34" charset="0"/>
              </a:rPr>
              <a:t>Principais ajustes solicitados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5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624B0E1-362A-C626-A184-486C8D7C440E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sp>
        <p:nvSpPr>
          <p:cNvPr id="6" name="Shape 3759">
            <a:extLst>
              <a:ext uri="{FF2B5EF4-FFF2-40B4-BE49-F238E27FC236}">
                <a16:creationId xmlns:a16="http://schemas.microsoft.com/office/drawing/2014/main" id="{7195285C-3542-A827-AA4A-C350A3900554}"/>
              </a:ext>
            </a:extLst>
          </p:cNvPr>
          <p:cNvSpPr/>
          <p:nvPr/>
        </p:nvSpPr>
        <p:spPr>
          <a:xfrm>
            <a:off x="619447" y="2831428"/>
            <a:ext cx="2826397" cy="1220715"/>
          </a:xfrm>
          <a:prstGeom prst="rect">
            <a:avLst/>
          </a:prstGeom>
          <a:solidFill>
            <a:srgbClr val="0088C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pt-BR" sz="2800" dirty="0"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justes: </a:t>
            </a:r>
            <a:endParaRPr sz="2800" dirty="0"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7" name="Gráfico 6" descr="Irritante">
            <a:extLst>
              <a:ext uri="{FF2B5EF4-FFF2-40B4-BE49-F238E27FC236}">
                <a16:creationId xmlns:a16="http://schemas.microsoft.com/office/drawing/2014/main" id="{DBF88577-CABF-D7EE-4BF1-7CE90D9D1B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5576" y="135611"/>
            <a:ext cx="914400" cy="914400"/>
          </a:xfrm>
          <a:prstGeom prst="rect">
            <a:avLst/>
          </a:prstGeom>
        </p:spPr>
      </p:pic>
      <p:sp>
        <p:nvSpPr>
          <p:cNvPr id="20" name="Retângulo de cantos arredondados 1">
            <a:extLst>
              <a:ext uri="{FF2B5EF4-FFF2-40B4-BE49-F238E27FC236}">
                <a16:creationId xmlns:a16="http://schemas.microsoft.com/office/drawing/2014/main" id="{459AA1E1-7780-AE26-EABA-25499CC2C4E6}"/>
              </a:ext>
            </a:extLst>
          </p:cNvPr>
          <p:cNvSpPr/>
          <p:nvPr/>
        </p:nvSpPr>
        <p:spPr>
          <a:xfrm>
            <a:off x="5153151" y="1605987"/>
            <a:ext cx="5579851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altLang="pt-BR" b="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Atualização do balanço hídrico do SAA por sistema produtor</a:t>
            </a:r>
          </a:p>
          <a:p>
            <a:pPr algn="ctr">
              <a:defRPr/>
            </a:pPr>
            <a:endParaRPr lang="pt-BR" altLang="pt-BR" b="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tângulo de cantos arredondados 1">
            <a:extLst>
              <a:ext uri="{FF2B5EF4-FFF2-40B4-BE49-F238E27FC236}">
                <a16:creationId xmlns:a16="http://schemas.microsoft.com/office/drawing/2014/main" id="{57D21E20-190B-E5C6-7DD6-E9921A67F798}"/>
              </a:ext>
            </a:extLst>
          </p:cNvPr>
          <p:cNvSpPr/>
          <p:nvPr/>
        </p:nvSpPr>
        <p:spPr>
          <a:xfrm>
            <a:off x="5153150" y="2648717"/>
            <a:ext cx="5579851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Atualização do cronograma de investimentos do PDSB</a:t>
            </a:r>
          </a:p>
        </p:txBody>
      </p:sp>
      <p:sp>
        <p:nvSpPr>
          <p:cNvPr id="22" name="Retângulo de cantos arredondados 1">
            <a:extLst>
              <a:ext uri="{FF2B5EF4-FFF2-40B4-BE49-F238E27FC236}">
                <a16:creationId xmlns:a16="http://schemas.microsoft.com/office/drawing/2014/main" id="{0FCA8FA2-B56B-0FC2-3813-2D408C0C00BD}"/>
              </a:ext>
            </a:extLst>
          </p:cNvPr>
          <p:cNvSpPr/>
          <p:nvPr/>
        </p:nvSpPr>
        <p:spPr>
          <a:xfrm>
            <a:off x="5153150" y="3716092"/>
            <a:ext cx="5579851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Atualização do fluxo de caixa do PDSB</a:t>
            </a:r>
          </a:p>
        </p:txBody>
      </p:sp>
      <p:sp>
        <p:nvSpPr>
          <p:cNvPr id="23" name="Retângulo de cantos arredondados 1">
            <a:extLst>
              <a:ext uri="{FF2B5EF4-FFF2-40B4-BE49-F238E27FC236}">
                <a16:creationId xmlns:a16="http://schemas.microsoft.com/office/drawing/2014/main" id="{EBFEF01E-BD40-E1D9-09EF-2F8D3DF6B286}"/>
              </a:ext>
            </a:extLst>
          </p:cNvPr>
          <p:cNvSpPr/>
          <p:nvPr/>
        </p:nvSpPr>
        <p:spPr>
          <a:xfrm>
            <a:off x="5153149" y="4797746"/>
            <a:ext cx="5579851" cy="8776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altLang="pt-BR" b="1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Elaboração do Tomo VI – Avaliação da Execução do Plano (indicadores)</a:t>
            </a:r>
          </a:p>
        </p:txBody>
      </p:sp>
      <p:pic>
        <p:nvPicPr>
          <p:cNvPr id="24" name="Gráfico 23" descr="Setas de divisa">
            <a:extLst>
              <a:ext uri="{FF2B5EF4-FFF2-40B4-BE49-F238E27FC236}">
                <a16:creationId xmlns:a16="http://schemas.microsoft.com/office/drawing/2014/main" id="{A202B52F-E4A7-AD4C-BF8B-364629EC08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1745" y="3167258"/>
            <a:ext cx="744497" cy="74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492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5F57643C-2D47-ED90-FF23-A1016B013688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0" y="-1"/>
            <a:ext cx="12236966" cy="685800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A0671F3-206D-2B42-8ECE-0F908193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261" y="314864"/>
            <a:ext cx="8509715" cy="914401"/>
          </a:xfrm>
        </p:spPr>
        <p:txBody>
          <a:bodyPr>
            <a:normAutofit/>
          </a:bodyPr>
          <a:lstStyle/>
          <a:p>
            <a:pPr algn="ctr"/>
            <a:r>
              <a:rPr lang="pt-BR" sz="3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nálise do Plano de Exploração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0C209033-0D88-701D-8154-F0136B731D64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3600" dirty="0">
              <a:solidFill>
                <a:srgbClr val="00B0F0"/>
              </a:solidFill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030819CD-29B8-3E7B-9B12-298856686D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455" y="292047"/>
            <a:ext cx="2211764" cy="24175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Espaço Reservado para Conteúdo 2">
            <a:extLst>
              <a:ext uri="{FF2B5EF4-FFF2-40B4-BE49-F238E27FC236}">
                <a16:creationId xmlns:a16="http://schemas.microsoft.com/office/drawing/2014/main" id="{2703103B-7486-8BC4-0B5C-E406A9431F7A}"/>
              </a:ext>
            </a:extLst>
          </p:cNvPr>
          <p:cNvSpPr txBox="1">
            <a:spLocks/>
          </p:cNvSpPr>
          <p:nvPr/>
        </p:nvSpPr>
        <p:spPr>
          <a:xfrm>
            <a:off x="1571337" y="4066876"/>
            <a:ext cx="5067995" cy="204436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Balanço hídrico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Cronograma de investimentos 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Fluxo de caixa</a:t>
            </a:r>
          </a:p>
        </p:txBody>
      </p:sp>
      <p:pic>
        <p:nvPicPr>
          <p:cNvPr id="11" name="Gráfico 10" descr="Banco de dados">
            <a:extLst>
              <a:ext uri="{FF2B5EF4-FFF2-40B4-BE49-F238E27FC236}">
                <a16:creationId xmlns:a16="http://schemas.microsoft.com/office/drawing/2014/main" id="{29B5225E-E5DB-5CD4-0903-C01942F1AB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4173" y="4385473"/>
            <a:ext cx="1407164" cy="1407164"/>
          </a:xfrm>
          <a:prstGeom prst="rect">
            <a:avLst/>
          </a:prstGeom>
        </p:spPr>
      </p:pic>
      <p:sp>
        <p:nvSpPr>
          <p:cNvPr id="12" name="Shape 3759">
            <a:extLst>
              <a:ext uri="{FF2B5EF4-FFF2-40B4-BE49-F238E27FC236}">
                <a16:creationId xmlns:a16="http://schemas.microsoft.com/office/drawing/2014/main" id="{274EDD95-FFB1-AD8E-71FA-621C71D57C45}"/>
              </a:ext>
            </a:extLst>
          </p:cNvPr>
          <p:cNvSpPr/>
          <p:nvPr/>
        </p:nvSpPr>
        <p:spPr>
          <a:xfrm>
            <a:off x="2511846" y="1598216"/>
            <a:ext cx="9028130" cy="204436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457200" indent="-457200" algn="ctr" defTabSz="5842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3200" b="1" cap="all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lano de Expansão</a:t>
            </a:r>
          </a:p>
          <a:p>
            <a:pPr marL="0" indent="0" algn="ctr" defTabSz="584200">
              <a:lnSpc>
                <a:spcPct val="100000"/>
              </a:lnSpc>
              <a:spcBef>
                <a:spcPts val="0"/>
              </a:spcBef>
              <a:buNone/>
            </a:pPr>
            <a:endParaRPr lang="pt-BR" sz="3200" b="1" cap="all" dirty="0">
              <a:solidFill>
                <a:srgbClr val="FFFFFF"/>
              </a:solidFill>
              <a:latin typeface="Century Gothic" panose="020B0502020202020204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457200" indent="-457200" algn="ctr" defTabSz="5842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3200" b="1" cap="all" dirty="0">
                <a:solidFill>
                  <a:srgbClr val="FFFFFF"/>
                </a:solidFill>
                <a:latin typeface="Century Gothic" panose="020B0502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lano de Operação e Manutenção</a:t>
            </a:r>
          </a:p>
        </p:txBody>
      </p:sp>
      <p:pic>
        <p:nvPicPr>
          <p:cNvPr id="16" name="Gráfico 15" descr="Setas de divisa">
            <a:extLst>
              <a:ext uri="{FF2B5EF4-FFF2-40B4-BE49-F238E27FC236}">
                <a16:creationId xmlns:a16="http://schemas.microsoft.com/office/drawing/2014/main" id="{C1F6F29D-4098-8318-D724-93E7F88834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15150" y="4704072"/>
            <a:ext cx="769968" cy="769968"/>
          </a:xfrm>
          <a:prstGeom prst="rect">
            <a:avLst/>
          </a:prstGeom>
        </p:spPr>
      </p:pic>
      <p:sp>
        <p:nvSpPr>
          <p:cNvPr id="18" name="Espaço Reservado para Conteúdo 2">
            <a:extLst>
              <a:ext uri="{FF2B5EF4-FFF2-40B4-BE49-F238E27FC236}">
                <a16:creationId xmlns:a16="http://schemas.microsoft.com/office/drawing/2014/main" id="{E2EC5F9D-6DA5-C837-5E6F-7568B4CE7599}"/>
              </a:ext>
            </a:extLst>
          </p:cNvPr>
          <p:cNvSpPr txBox="1">
            <a:spLocks/>
          </p:cNvSpPr>
          <p:nvPr/>
        </p:nvSpPr>
        <p:spPr>
          <a:xfrm>
            <a:off x="7572691" y="4357799"/>
            <a:ext cx="4376702" cy="1462513"/>
          </a:xfrm>
          <a:prstGeom prst="rect">
            <a:avLst/>
          </a:prstGeom>
          <a:solidFill>
            <a:srgbClr val="0088C2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Sustentabilidade técnica</a:t>
            </a:r>
          </a:p>
          <a:p>
            <a:pPr marL="0" indent="0"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Sustentabilidade financeira</a:t>
            </a:r>
          </a:p>
        </p:txBody>
      </p:sp>
    </p:spTree>
    <p:extLst>
      <p:ext uri="{BB962C8B-B14F-4D97-AF65-F5344CB8AC3E}">
        <p14:creationId xmlns:p14="http://schemas.microsoft.com/office/powerpoint/2010/main" val="4007677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FC564E41-C879-481C-9261-AE6FC9D491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584" y="896945"/>
            <a:ext cx="10106215" cy="5729375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57EA9F37-C55E-833A-9E19-BA70F4340E55}"/>
              </a:ext>
            </a:extLst>
          </p:cNvPr>
          <p:cNvSpPr txBox="1">
            <a:spLocks/>
          </p:cNvSpPr>
          <p:nvPr/>
        </p:nvSpPr>
        <p:spPr>
          <a:xfrm>
            <a:off x="2357385" y="-38697"/>
            <a:ext cx="7477230" cy="750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4000" b="1" dirty="0">
                <a:latin typeface="Century Gothic" panose="020B0502020202020204" pitchFamily="34" charset="0"/>
              </a:rPr>
              <a:t>Balanço Hídrico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74608FF-01DE-F3FA-BE23-C75F9EDE811D}"/>
              </a:ext>
            </a:extLst>
          </p:cNvPr>
          <p:cNvSpPr txBox="1"/>
          <p:nvPr/>
        </p:nvSpPr>
        <p:spPr>
          <a:xfrm>
            <a:off x="463296" y="71227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800" dirty="0">
                <a:latin typeface="Century Gothic" panose="020B0502020202020204" pitchFamily="34" charset="0"/>
              </a:rPr>
              <a:t>Sistemas de Abastecimento de Água</a:t>
            </a:r>
          </a:p>
        </p:txBody>
      </p:sp>
    </p:spTree>
    <p:extLst>
      <p:ext uri="{BB962C8B-B14F-4D97-AF65-F5344CB8AC3E}">
        <p14:creationId xmlns:p14="http://schemas.microsoft.com/office/powerpoint/2010/main" val="12428022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1626431" y="300416"/>
            <a:ext cx="9385299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latin typeface="Rift Light" panose="00000400000000000000" charset="0"/>
                <a:ea typeface="+mj-ea"/>
                <a:cs typeface="+mj-cs"/>
              </a:defRPr>
            </a:lvl1pPr>
          </a:lstStyle>
          <a:p>
            <a:r>
              <a:rPr lang="pt-BR" sz="3200" dirty="0">
                <a:latin typeface="Century Gothic" panose="020B0502020202020204" pitchFamily="34" charset="0"/>
              </a:rPr>
              <a:t>Comparativo da População 2020-2039</a:t>
            </a:r>
          </a:p>
        </p:txBody>
      </p:sp>
      <p:sp>
        <p:nvSpPr>
          <p:cNvPr id="4" name="Espaço Reservado para Número de Slide 29">
            <a:extLst>
              <a:ext uri="{FF2B5EF4-FFF2-40B4-BE49-F238E27FC236}">
                <a16:creationId xmlns:a16="http://schemas.microsoft.com/office/drawing/2014/main" id="{F6E552FB-B474-BA89-70FF-3EF895FDE677}"/>
              </a:ext>
            </a:extLst>
          </p:cNvPr>
          <p:cNvSpPr txBox="1">
            <a:spLocks/>
          </p:cNvSpPr>
          <p:nvPr/>
        </p:nvSpPr>
        <p:spPr>
          <a:xfrm>
            <a:off x="11388435" y="6302117"/>
            <a:ext cx="796653" cy="467104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F10D84F-6FCC-41F5-9C8C-10BE6BAD181C}" type="slidenum">
              <a:rPr lang="pt-BR" sz="3600" smtClean="0">
                <a:solidFill>
                  <a:srgbClr val="00B0F0"/>
                </a:solidFill>
              </a:rPr>
              <a:pPr algn="ctr"/>
              <a:t>8</a:t>
            </a:fld>
            <a:endParaRPr lang="pt-BR" sz="3600" dirty="0">
              <a:solidFill>
                <a:srgbClr val="00B0F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C12CFA1-B0ED-8F78-D330-47F29C4BC50D}"/>
              </a:ext>
            </a:extLst>
          </p:cNvPr>
          <p:cNvSpPr txBox="1"/>
          <p:nvPr/>
        </p:nvSpPr>
        <p:spPr>
          <a:xfrm>
            <a:off x="7421541" y="646718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Superintendência de Abastecimento de Água e de Esgoto</a:t>
            </a:r>
            <a:br>
              <a:rPr lang="pt-BR" sz="10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pt-BR" sz="1000" dirty="0">
                <a:solidFill>
                  <a:schemeClr val="bg1">
                    <a:lumMod val="65000"/>
                  </a:schemeClr>
                </a:solidFill>
              </a:rPr>
              <a:t>ADASA – Agência Reguladora de Águas, Energia e Saneamento Básico do DF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5F745CA5-4FFE-445F-B525-46FC041CD2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367264"/>
              </p:ext>
            </p:extLst>
          </p:nvPr>
        </p:nvGraphicFramePr>
        <p:xfrm>
          <a:off x="1427734" y="930213"/>
          <a:ext cx="9385299" cy="4997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5FFA3A18-176B-AAAB-0ACD-1A6A9423F89B}"/>
              </a:ext>
            </a:extLst>
          </p:cNvPr>
          <p:cNvSpPr txBox="1"/>
          <p:nvPr/>
        </p:nvSpPr>
        <p:spPr>
          <a:xfrm>
            <a:off x="560832" y="6044164"/>
            <a:ext cx="7159030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400" dirty="0"/>
              <a:t>Incremento de: 890 mil hab. (28%) = 44 mil hab./ano </a:t>
            </a:r>
          </a:p>
        </p:txBody>
      </p:sp>
    </p:spTree>
    <p:extLst>
      <p:ext uri="{BB962C8B-B14F-4D97-AF65-F5344CB8AC3E}">
        <p14:creationId xmlns:p14="http://schemas.microsoft.com/office/powerpoint/2010/main" val="2318321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EFF1F2-77C2-43E2-945D-DD54F70F9C78}"/>
              </a:ext>
            </a:extLst>
          </p:cNvPr>
          <p:cNvSpPr txBox="1">
            <a:spLocks/>
          </p:cNvSpPr>
          <p:nvPr/>
        </p:nvSpPr>
        <p:spPr>
          <a:xfrm>
            <a:off x="1104900" y="350994"/>
            <a:ext cx="10604500" cy="634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200" b="1"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pt-BR" dirty="0"/>
              <a:t>Demanda x Capacidade Instalada 2020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E90BE648-885A-43CD-B40D-B31C82EFA4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9666313"/>
              </p:ext>
            </p:extLst>
          </p:nvPr>
        </p:nvGraphicFramePr>
        <p:xfrm>
          <a:off x="901700" y="1192123"/>
          <a:ext cx="10263553" cy="5124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57719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014978C7C598A4F847C722249E711B2" ma:contentTypeVersion="12" ma:contentTypeDescription="Crie um novo documento." ma:contentTypeScope="" ma:versionID="340ff797f770006217fbd12133ef8648">
  <xsd:schema xmlns:xsd="http://www.w3.org/2001/XMLSchema" xmlns:xs="http://www.w3.org/2001/XMLSchema" xmlns:p="http://schemas.microsoft.com/office/2006/metadata/properties" xmlns:ns2="473e5a23-0c39-4b0b-a7d5-9d268c7d52b6" xmlns:ns3="2dec93e3-f2f4-419b-add3-2b3b08e1fc9a" targetNamespace="http://schemas.microsoft.com/office/2006/metadata/properties" ma:root="true" ma:fieldsID="dcbfa7bfd98fe91bf6157e42f97864d1" ns2:_="" ns3:_="">
    <xsd:import namespace="473e5a23-0c39-4b0b-a7d5-9d268c7d52b6"/>
    <xsd:import namespace="2dec93e3-f2f4-419b-add3-2b3b08e1fc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3e5a23-0c39-4b0b-a7d5-9d268c7d52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ec93e3-f2f4-419b-add3-2b3b08e1fc9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D67F49-1EFD-4423-A61C-F73A1CAB2DBD}"/>
</file>

<file path=customXml/itemProps2.xml><?xml version="1.0" encoding="utf-8"?>
<ds:datastoreItem xmlns:ds="http://schemas.openxmlformats.org/officeDocument/2006/customXml" ds:itemID="{EC25BB14-7A21-4F15-9D28-FE76F052DA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A934EB-4E87-481D-8F95-FF61DCD00713}">
  <ds:schemaRefs>
    <ds:schemaRef ds:uri="http://purl.org/dc/dcmitype/"/>
    <ds:schemaRef ds:uri="http://schemas.microsoft.com/office/2006/documentManagement/types"/>
    <ds:schemaRef ds:uri="dc2b2e03-938f-446a-8833-1d37b66576d3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49</TotalTime>
  <Words>3330</Words>
  <Application>Microsoft Office PowerPoint</Application>
  <PresentationFormat>Widescreen</PresentationFormat>
  <Paragraphs>529</Paragraphs>
  <Slides>39</Slides>
  <Notes>34</Notes>
  <HiddenSlides>0</HiddenSlides>
  <MMClips>0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Títulos de slides</vt:lpstr>
      </vt:variant>
      <vt:variant>
        <vt:i4>39</vt:i4>
      </vt:variant>
    </vt:vector>
  </HeadingPairs>
  <TitlesOfParts>
    <vt:vector size="47" baseType="lpstr">
      <vt:lpstr>Arial</vt:lpstr>
      <vt:lpstr>Calibri</vt:lpstr>
      <vt:lpstr>Calibri Light</vt:lpstr>
      <vt:lpstr>Century Gothic</vt:lpstr>
      <vt:lpstr>Wingdings</vt:lpstr>
      <vt:lpstr>Tema do Office</vt:lpstr>
      <vt:lpstr>3_Tema do Office</vt:lpstr>
      <vt:lpstr>1_Tema do Office</vt:lpstr>
      <vt:lpstr>Apresentação do PowerPoint</vt:lpstr>
      <vt:lpstr>Exigência legal do Plano de Exploração</vt:lpstr>
      <vt:lpstr>Apresentação do PowerPoint</vt:lpstr>
      <vt:lpstr>Estrutura do Plano de Exploração  Apresentado pela Caesb</vt:lpstr>
      <vt:lpstr>Principais ajustes solicitados</vt:lpstr>
      <vt:lpstr>Análise do Plano de Explor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ronograma de Investimentos (2022 a 2039)</vt:lpstr>
      <vt:lpstr>Estratégia de monitoramento do Cronograma de Investimentos (2022 a 2039)</vt:lpstr>
      <vt:lpstr>Análise do Plano de Exploração</vt:lpstr>
      <vt:lpstr>Apresentação do PowerPoint</vt:lpstr>
      <vt:lpstr>Apresentação do PowerPoint</vt:lpstr>
      <vt:lpstr>Análise do Plano de Explor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oporção anual dos investimentos(2022 a 2039)</vt:lpstr>
      <vt:lpstr>Apresentação do PowerPoint</vt:lpstr>
      <vt:lpstr>Apresentação do PowerPoint</vt:lpstr>
      <vt:lpstr>Apresentação do PowerPoint</vt:lpstr>
      <vt:lpstr>Apresentação do PowerPoint</vt:lpstr>
      <vt:lpstr>Ajustes no Plano Solicitados pela Adas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Regulação Técnica de Água e de Esgoto no Distrito Federal e o Papel da SAE</dc:title>
  <dc:creator>Irene Guimarães Altafin</dc:creator>
  <cp:lastModifiedBy>Adalto Clímaco Ribeiro</cp:lastModifiedBy>
  <cp:revision>46</cp:revision>
  <dcterms:modified xsi:type="dcterms:W3CDTF">2022-11-03T14:3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14978C7C598A4F847C722249E711B2</vt:lpwstr>
  </property>
</Properties>
</file>